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ppt/tags/tag4.xml" ContentType="application/vnd.openxmlformats-officedocument.presentationml.tags+xml"/>
  <Override PartName="/ppt/notesSlides/notesSlide6.xml" ContentType="application/vnd.openxmlformats-officedocument.presentationml.notesSlide+xml"/>
  <Override PartName="/ppt/tags/tag5.xml" ContentType="application/vnd.openxmlformats-officedocument.presentationml.tags+xml"/>
  <Override PartName="/ppt/notesSlides/notesSlide7.xml" ContentType="application/vnd.openxmlformats-officedocument.presentationml.notesSlide+xml"/>
  <Override PartName="/ppt/tags/tag6.xml" ContentType="application/vnd.openxmlformats-officedocument.presentationml.tags+xml"/>
  <Override PartName="/ppt/notesSlides/notesSlide8.xml" ContentType="application/vnd.openxmlformats-officedocument.presentationml.notesSlide+xml"/>
  <Override PartName="/ppt/tags/tag7.xml" ContentType="application/vnd.openxmlformats-officedocument.presentationml.tags+xml"/>
  <Override PartName="/ppt/notesSlides/notesSlide9.xml" ContentType="application/vnd.openxmlformats-officedocument.presentationml.notesSlide+xml"/>
  <Override PartName="/ppt/tags/tag8.xml" ContentType="application/vnd.openxmlformats-officedocument.presentationml.tags+xml"/>
  <Override PartName="/ppt/notesSlides/notesSlide10.xml" ContentType="application/vnd.openxmlformats-officedocument.presentationml.notesSlide+xml"/>
  <Override PartName="/ppt/tags/tag9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73" r:id="rId4"/>
  </p:sldMasterIdLst>
  <p:notesMasterIdLst>
    <p:notesMasterId r:id="rId16"/>
  </p:notesMasterIdLst>
  <p:handoutMasterIdLst>
    <p:handoutMasterId r:id="rId17"/>
  </p:handoutMasterIdLst>
  <p:sldIdLst>
    <p:sldId id="355" r:id="rId5"/>
    <p:sldId id="382" r:id="rId6"/>
    <p:sldId id="387" r:id="rId7"/>
    <p:sldId id="335" r:id="rId8"/>
    <p:sldId id="386" r:id="rId9"/>
    <p:sldId id="384" r:id="rId10"/>
    <p:sldId id="385" r:id="rId11"/>
    <p:sldId id="379" r:id="rId12"/>
    <p:sldId id="381" r:id="rId13"/>
    <p:sldId id="383" r:id="rId14"/>
    <p:sldId id="380" r:id="rId15"/>
  </p:sldIdLst>
  <p:sldSz cx="12192000" cy="6858000"/>
  <p:notesSz cx="6797675" cy="9928225"/>
  <p:defaultTextStyle>
    <a:defPPr>
      <a:defRPr lang="de-DE"/>
    </a:defPPr>
    <a:lvl1pPr marL="0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35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71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06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542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678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814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949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085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708" userDrawn="1">
          <p15:clr>
            <a:srgbClr val="A4A3A4"/>
          </p15:clr>
        </p15:guide>
        <p15:guide id="2" orient="horz" pos="5051" userDrawn="1">
          <p15:clr>
            <a:srgbClr val="A4A3A4"/>
          </p15:clr>
        </p15:guide>
        <p15:guide id="3" pos="4020" userDrawn="1">
          <p15:clr>
            <a:srgbClr val="A4A3A4"/>
          </p15:clr>
        </p15:guide>
        <p15:guide id="4" pos="300" userDrawn="1">
          <p15:clr>
            <a:srgbClr val="A4A3A4"/>
          </p15:clr>
        </p15:guide>
        <p15:guide id="5" orient="horz" pos="770" userDrawn="1">
          <p15:clr>
            <a:srgbClr val="A4A3A4"/>
          </p15:clr>
        </p15:guide>
        <p15:guide id="6" orient="horz" pos="5484" userDrawn="1">
          <p15:clr>
            <a:srgbClr val="A4A3A4"/>
          </p15:clr>
        </p15:guide>
        <p15:guide id="7" pos="3984" userDrawn="1">
          <p15:clr>
            <a:srgbClr val="A4A3A4"/>
          </p15:clr>
        </p15:guide>
        <p15:guide id="8" pos="29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xel Kirchner" initials="AK" lastIdx="0" clrIdx="0">
    <p:extLst>
      <p:ext uri="{19B8F6BF-5375-455C-9EA6-DF929625EA0E}">
        <p15:presenceInfo xmlns:p15="http://schemas.microsoft.com/office/powerpoint/2012/main" userId="S-1-5-21-167095541-4071782353-2017073629-110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1C8E2"/>
    <a:srgbClr val="6F7479"/>
    <a:srgbClr val="A8C8E9"/>
    <a:srgbClr val="B8CEE2"/>
    <a:srgbClr val="F1F1F1"/>
    <a:srgbClr val="000000"/>
    <a:srgbClr val="222222"/>
    <a:srgbClr val="252525"/>
    <a:srgbClr val="0C0C0C"/>
    <a:srgbClr val="F0F0F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8FD4443E-F989-4FC4-A0C8-D5A2AF1F390B}" styleName="Dunkle Formatvorlage 1 - Akz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DA37D80-6434-44D0-A028-1B22A696006F}" styleName="Helle Formatvorlage 3 - Akz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E3FDE45-AF77-4B5C-9715-49D594BDF05E}" styleName="Helle Formatvorlage 1 - Akz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5BE263C-DBD7-4A20-BB59-AAB30ACAA65A}" styleName="Mittlere Formatvorlage 3 - Akz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727" autoAdjust="0"/>
    <p:restoredTop sz="95646" autoAdjust="0"/>
  </p:normalViewPr>
  <p:slideViewPr>
    <p:cSldViewPr snapToGrid="0" snapToObjects="1" showGuides="1">
      <p:cViewPr varScale="1">
        <p:scale>
          <a:sx n="94" d="100"/>
          <a:sy n="94" d="100"/>
        </p:scale>
        <p:origin x="374" y="8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40" d="100"/>
        <a:sy n="40" d="100"/>
      </p:scale>
      <p:origin x="0" y="0"/>
    </p:cViewPr>
  </p:sorterViewPr>
  <p:notesViewPr>
    <p:cSldViewPr snapToGrid="0" snapToObjects="1" showGuides="1">
      <p:cViewPr varScale="1">
        <p:scale>
          <a:sx n="64" d="100"/>
          <a:sy n="64" d="100"/>
        </p:scale>
        <p:origin x="3130" y="67"/>
      </p:cViewPr>
      <p:guideLst>
        <p:guide orient="horz" pos="708"/>
        <p:guide orient="horz" pos="5051"/>
        <p:guide pos="4020"/>
        <p:guide pos="300"/>
        <p:guide orient="horz" pos="770"/>
        <p:guide orient="horz" pos="5484"/>
        <p:guide pos="3984"/>
        <p:guide pos="29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2"/>
          </p:nvPr>
        </p:nvSpPr>
        <p:spPr>
          <a:xfrm>
            <a:off x="1" y="9674935"/>
            <a:ext cx="5309937" cy="25328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>
                <a:latin typeface="MB Corpo S Text Office Light" panose="020B0404050000000004" pitchFamily="34" charset="0"/>
              </a:rPr>
              <a:t>Best Practise Powerpoint Präsentation, MS/MSA, Stuttgart, Dezember 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3"/>
          </p:nvPr>
        </p:nvSpPr>
        <p:spPr>
          <a:xfrm>
            <a:off x="6316663" y="9670921"/>
            <a:ext cx="481013" cy="2532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‹Nr.›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735431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bildplatzhalter 2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4" name="Notizenplatzhalter 3"/>
          <p:cNvSpPr>
            <a:spLocks noGrp="1"/>
          </p:cNvSpPr>
          <p:nvPr>
            <p:ph type="body" sz="quarter" idx="3"/>
          </p:nvPr>
        </p:nvSpPr>
        <p:spPr>
          <a:xfrm>
            <a:off x="422276" y="5112001"/>
            <a:ext cx="5953124" cy="36000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2"/>
          <p:cNvSpPr>
            <a:spLocks noGrp="1"/>
          </p:cNvSpPr>
          <p:nvPr>
            <p:ph type="ftr" sz="quarter" idx="4"/>
          </p:nvPr>
        </p:nvSpPr>
        <p:spPr>
          <a:xfrm>
            <a:off x="1" y="9674935"/>
            <a:ext cx="5309937" cy="25328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>
                <a:latin typeface="MB Corpo S Text Office Light" panose="020B0404050000000004" pitchFamily="34" charset="0"/>
              </a:rPr>
              <a:t>Best Practise Powerpoint Präsentation, MS/MSA, Stuttgart, Dezember 2020</a:t>
            </a:r>
          </a:p>
        </p:txBody>
      </p:sp>
      <p:sp>
        <p:nvSpPr>
          <p:cNvPr id="6" name="Foliennummernplatzhalter 3"/>
          <p:cNvSpPr>
            <a:spLocks noGrp="1"/>
          </p:cNvSpPr>
          <p:nvPr>
            <p:ph type="sldNum" sz="quarter" idx="5"/>
          </p:nvPr>
        </p:nvSpPr>
        <p:spPr>
          <a:xfrm>
            <a:off x="6316663" y="9670921"/>
            <a:ext cx="481013" cy="2532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‹Nr.›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585940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271" rtl="0" eaLnBrk="1" latinLnBrk="0" hangingPunct="1">
      <a:lnSpc>
        <a:spcPct val="108000"/>
      </a:lnSpc>
      <a:spcAft>
        <a:spcPts val="1008"/>
      </a:spcAft>
      <a:defRPr sz="1600" kern="1200">
        <a:solidFill>
          <a:schemeClr val="tx1"/>
        </a:solidFill>
        <a:latin typeface="MB Corpo S Text Office Light" panose="020B0404050000000004" pitchFamily="34" charset="0"/>
        <a:ea typeface="+mn-ea"/>
        <a:cs typeface="+mn-cs"/>
      </a:defRPr>
    </a:lvl1pPr>
    <a:lvl2pPr marL="234000" indent="-234000" algn="l" defTabSz="914271" rtl="0" eaLnBrk="1" latinLnBrk="0" hangingPunct="1">
      <a:lnSpc>
        <a:spcPct val="108000"/>
      </a:lnSpc>
      <a:spcAft>
        <a:spcPts val="1008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MB Corpo S Text Office Light" panose="020B0404050000000004" pitchFamily="34" charset="0"/>
        <a:ea typeface="+mn-ea"/>
        <a:cs typeface="+mn-cs"/>
      </a:defRPr>
    </a:lvl2pPr>
    <a:lvl3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1000" kern="1200">
        <a:solidFill>
          <a:schemeClr val="tx1"/>
        </a:solidFill>
        <a:latin typeface="MB Corpo S Text Office Light" panose="020B0404050000000004" pitchFamily="34" charset="0"/>
        <a:ea typeface="+mn-ea"/>
        <a:cs typeface="+mn-cs"/>
      </a:defRPr>
    </a:lvl3pPr>
    <a:lvl4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1000" kern="1200">
        <a:solidFill>
          <a:schemeClr val="tx1"/>
        </a:solidFill>
        <a:latin typeface="MB Corpo S Text Office Light" panose="020B0404050000000004" pitchFamily="34" charset="0"/>
        <a:ea typeface="+mn-ea"/>
        <a:cs typeface="+mn-cs"/>
      </a:defRPr>
    </a:lvl4pPr>
    <a:lvl5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1000" kern="1200">
        <a:solidFill>
          <a:schemeClr val="tx1"/>
        </a:solidFill>
        <a:latin typeface="MB Corpo S Text Office Light" panose="020B0404050000000004" pitchFamily="34" charset="0"/>
        <a:ea typeface="+mn-ea"/>
        <a:cs typeface="+mn-cs"/>
      </a:defRPr>
    </a:lvl5pPr>
    <a:lvl6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1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68837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10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321252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11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04404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2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47166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3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29193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4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21653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5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70720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6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072982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7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385489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8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7944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9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9749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standard no claim">
    <p:bg bwMode="black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Background with Mercedes star and word mark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33" y="0"/>
            <a:ext cx="12193521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Image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" y="313201"/>
            <a:ext cx="12193200" cy="34056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5" name="Additional text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286" y="5070362"/>
            <a:ext cx="9396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6 pt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14" name="Title"/>
          <p:cNvSpPr>
            <a:spLocks noGrp="1"/>
          </p:cNvSpPr>
          <p:nvPr>
            <p:ph type="ctrTitle" hasCustomPrompt="1"/>
          </p:nvPr>
        </p:nvSpPr>
        <p:spPr bwMode="white">
          <a:xfrm>
            <a:off x="395286" y="3848402"/>
            <a:ext cx="9396000" cy="1044000"/>
          </a:xfrm>
        </p:spPr>
        <p:txBody>
          <a:bodyPr/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noProof="0" dirty="0"/>
              <a:t>Presentation title in 36 pt on one line.</a:t>
            </a:r>
            <a:br>
              <a:rPr lang="en-US" noProof="0" dirty="0"/>
            </a:br>
            <a:r>
              <a:rPr lang="en-US" noProof="0" dirty="0"/>
              <a:t>Second line possible.</a:t>
            </a:r>
          </a:p>
        </p:txBody>
      </p:sp>
      <p:pic>
        <p:nvPicPr>
          <p:cNvPr id="2" name="Wortmarke Mercedes-Benz" descr="Y:\KiA\OV\PLATIS\JOB 1508-002_PPT_Mercedes_Benz_2010\allMaterial\1508-005_Material + Briefing\Material\MZ-Assets\MB-word-mark_p_3Coffice.emf">
            <a:extLst>
              <a:ext uri="{FF2B5EF4-FFF2-40B4-BE49-F238E27FC236}">
                <a16:creationId xmlns:a16="http://schemas.microsoft.com/office/drawing/2014/main" id="{80194728-44E3-0F23-69AD-F93BD2B5008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378861" y="6148680"/>
            <a:ext cx="1475338" cy="185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E1FA4FF2-E84E-7809-4AEE-3BF5715F8F3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7526" y="535410"/>
            <a:ext cx="1591858" cy="547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80676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divider // Black box on backgrou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Image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3200" cy="68580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Black box"/>
          <p:cNvSpPr/>
          <p:nvPr userDrawn="1"/>
        </p:nvSpPr>
        <p:spPr bwMode="ltGray">
          <a:xfrm rot="10800000">
            <a:off x="396000" y="360000"/>
            <a:ext cx="3873737" cy="3142158"/>
          </a:xfrm>
          <a:prstGeom prst="flowChartProcess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noProof="0" dirty="0"/>
          </a:p>
        </p:txBody>
      </p:sp>
      <p:sp>
        <p:nvSpPr>
          <p:cNvPr id="16" name="Content"/>
          <p:cNvSpPr>
            <a:spLocks noGrp="1"/>
          </p:cNvSpPr>
          <p:nvPr>
            <p:ph type="body" sz="quarter" idx="20" hasCustomPrompt="1"/>
          </p:nvPr>
        </p:nvSpPr>
        <p:spPr>
          <a:xfrm>
            <a:off x="862746" y="2271842"/>
            <a:ext cx="2889389" cy="899983"/>
          </a:xfrm>
        </p:spPr>
        <p:txBody>
          <a:bodyPr/>
          <a:lstStyle>
            <a:lvl1pPr>
              <a:defRPr sz="1600">
                <a:solidFill>
                  <a:srgbClr val="FFFFFF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</a:t>
            </a:r>
          </a:p>
        </p:txBody>
      </p:sp>
      <p:sp>
        <p:nvSpPr>
          <p:cNvPr id="14" name="Slide title"/>
          <p:cNvSpPr>
            <a:spLocks noGrp="1"/>
          </p:cNvSpPr>
          <p:nvPr>
            <p:ph type="title" hasCustomPrompt="1"/>
          </p:nvPr>
        </p:nvSpPr>
        <p:spPr bwMode="ltGray">
          <a:xfrm>
            <a:off x="862746" y="790574"/>
            <a:ext cx="2889389" cy="1006364"/>
          </a:xfrm>
        </p:spPr>
        <p:txBody>
          <a:bodyPr/>
          <a:lstStyle>
            <a:lvl1pPr>
              <a:defRPr sz="3600" baseline="0">
                <a:solidFill>
                  <a:srgbClr val="FFFFFF"/>
                </a:solidFill>
              </a:defRPr>
            </a:lvl1pPr>
          </a:lstStyle>
          <a:p>
            <a:r>
              <a:rPr lang="en-US" noProof="0" dirty="0"/>
              <a:t>Headline</a:t>
            </a:r>
            <a:br>
              <a:rPr lang="en-US" noProof="0" dirty="0"/>
            </a:br>
            <a:r>
              <a:rPr lang="en-US" noProof="0" dirty="0"/>
              <a:t>two lines in 36pt. </a:t>
            </a:r>
          </a:p>
        </p:txBody>
      </p:sp>
    </p:spTree>
    <p:extLst>
      <p:ext uri="{BB962C8B-B14F-4D97-AF65-F5344CB8AC3E}">
        <p14:creationId xmlns:p14="http://schemas.microsoft.com/office/powerpoint/2010/main" val="28939895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8">
          <p15:clr>
            <a:srgbClr val="A4A3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teboo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8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4" name="Image"/>
          <p:cNvSpPr>
            <a:spLocks noGrp="1"/>
          </p:cNvSpPr>
          <p:nvPr>
            <p:ph type="pic" sz="quarter" idx="10"/>
          </p:nvPr>
        </p:nvSpPr>
        <p:spPr bwMode="gray">
          <a:xfrm>
            <a:off x="5486400" y="1835150"/>
            <a:ext cx="5676900" cy="3584575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de-DE" noProof="1"/>
              <a:t>Bild durch Klicken auf Symbol hinzufügen</a:t>
            </a:r>
            <a:endParaRPr lang="en-US" noProof="1"/>
          </a:p>
        </p:txBody>
      </p:sp>
      <p:sp>
        <p:nvSpPr>
          <p:cNvPr id="11" name="Content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0" y="3143250"/>
            <a:ext cx="3918825" cy="2781300"/>
          </a:xfrm>
        </p:spPr>
        <p:txBody>
          <a:bodyPr/>
          <a:lstStyle>
            <a:lvl1pPr>
              <a:defRPr b="0" baseline="0">
                <a:latin typeface="+mn-lt"/>
              </a:defRPr>
            </a:lvl1pPr>
          </a:lstStyle>
          <a:p>
            <a:pPr lvl="0"/>
            <a:r>
              <a:rPr lang="en-US" dirty="0"/>
              <a:t>Insert text </a:t>
            </a:r>
            <a:r>
              <a:rPr lang="en-US" noProof="0" dirty="0"/>
              <a:t>Corpo S Text Light 20 pt. </a:t>
            </a:r>
            <a:endParaRPr lang="en-US" dirty="0"/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Slide title">
            <a:extLst>
              <a:ext uri="{FF2B5EF4-FFF2-40B4-BE49-F238E27FC236}">
                <a16:creationId xmlns:a16="http://schemas.microsoft.com/office/drawing/2014/main" id="{945D96A0-8D38-C9BD-12AF-0D23D5246C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000" y="1961804"/>
            <a:ext cx="3918824" cy="11074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1"/>
              <a:t>Headline</a:t>
            </a:r>
            <a:br>
              <a:rPr lang="en-US" noProof="1"/>
            </a:br>
            <a:r>
              <a:rPr lang="en-US" noProof="1"/>
              <a:t>two lines 36pt.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612301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 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5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2" name="Image"/>
          <p:cNvSpPr>
            <a:spLocks noGrp="1"/>
          </p:cNvSpPr>
          <p:nvPr>
            <p:ph type="pic" sz="quarter" idx="12"/>
          </p:nvPr>
        </p:nvSpPr>
        <p:spPr bwMode="gray">
          <a:xfrm>
            <a:off x="7340150" y="700313"/>
            <a:ext cx="2771775" cy="5329012"/>
          </a:xfrm>
          <a:prstGeom prst="roundRect">
            <a:avLst>
              <a:gd name="adj" fmla="val 4296"/>
            </a:avLst>
          </a:prstGeom>
          <a:solidFill>
            <a:schemeClr val="accent5"/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0" name="Content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0" y="3143250"/>
            <a:ext cx="3918825" cy="2781300"/>
          </a:xfrm>
        </p:spPr>
        <p:txBody>
          <a:bodyPr/>
          <a:lstStyle>
            <a:lvl1pPr>
              <a:defRPr b="0" baseline="0">
                <a:latin typeface="+mn-lt"/>
              </a:defRPr>
            </a:lvl1pPr>
          </a:lstStyle>
          <a:p>
            <a:pPr lvl="0"/>
            <a:r>
              <a:rPr lang="en-US" dirty="0"/>
              <a:t>Insert text </a:t>
            </a:r>
            <a:r>
              <a:rPr lang="en-US" noProof="0" dirty="0"/>
              <a:t>Corpo S Text Light 20 pt. </a:t>
            </a:r>
            <a:endParaRPr lang="en-US" dirty="0"/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Slide title">
            <a:extLst>
              <a:ext uri="{FF2B5EF4-FFF2-40B4-BE49-F238E27FC236}">
                <a16:creationId xmlns:a16="http://schemas.microsoft.com/office/drawing/2014/main" id="{20916E12-1367-3B14-B12F-CF7C281939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000" y="1961804"/>
            <a:ext cx="3918824" cy="11074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1"/>
              <a:t>Headline</a:t>
            </a:r>
            <a:br>
              <a:rPr lang="en-US" noProof="1"/>
            </a:br>
            <a:r>
              <a:rPr lang="en-US" noProof="1"/>
              <a:t>two lines 36pt.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910527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smart ph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6" name="Image"/>
          <p:cNvSpPr>
            <a:spLocks noGrp="1"/>
          </p:cNvSpPr>
          <p:nvPr>
            <p:ph type="pic" sz="quarter" idx="18"/>
          </p:nvPr>
        </p:nvSpPr>
        <p:spPr bwMode="gray">
          <a:xfrm>
            <a:off x="6672943" y="690563"/>
            <a:ext cx="2957513" cy="5643562"/>
          </a:xfrm>
          <a:prstGeom prst="roundRect">
            <a:avLst>
              <a:gd name="adj" fmla="val 4296"/>
            </a:avLst>
          </a:prstGeom>
          <a:solidFill>
            <a:schemeClr val="accent5"/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4" name="Image"/>
          <p:cNvSpPr>
            <a:spLocks noGrp="1"/>
          </p:cNvSpPr>
          <p:nvPr>
            <p:ph type="pic" sz="quarter" idx="17"/>
          </p:nvPr>
        </p:nvSpPr>
        <p:spPr bwMode="gray">
          <a:xfrm>
            <a:off x="2514600" y="690563"/>
            <a:ext cx="2957513" cy="5643562"/>
          </a:xfrm>
          <a:prstGeom prst="roundRect">
            <a:avLst>
              <a:gd name="adj" fmla="val 4296"/>
            </a:avLst>
          </a:prstGeom>
          <a:solidFill>
            <a:schemeClr val="accent5"/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1" name="Slide title"/>
          <p:cNvSpPr>
            <a:spLocks noGrp="1"/>
          </p:cNvSpPr>
          <p:nvPr>
            <p:ph type="title" hasCustomPrompt="1"/>
          </p:nvPr>
        </p:nvSpPr>
        <p:spPr>
          <a:xfrm>
            <a:off x="396000" y="4138073"/>
            <a:ext cx="2987219" cy="1006364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1"/>
              <a:t>Headline</a:t>
            </a:r>
            <a:br>
              <a:rPr lang="en-US" noProof="1"/>
            </a:br>
            <a:r>
              <a:rPr lang="en-US" noProof="1"/>
              <a:t>two lines 36pt.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18763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433">
          <p15:clr>
            <a:srgbClr val="A4A3A4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smart ph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26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21" name="Smart phone - content 3"/>
          <p:cNvSpPr>
            <a:spLocks noGrp="1"/>
          </p:cNvSpPr>
          <p:nvPr>
            <p:ph type="pic" sz="quarter" idx="21"/>
          </p:nvPr>
        </p:nvSpPr>
        <p:spPr bwMode="gray">
          <a:xfrm>
            <a:off x="9439841" y="1822901"/>
            <a:ext cx="1981201" cy="3786188"/>
          </a:xfrm>
          <a:prstGeom prst="roundRect">
            <a:avLst>
              <a:gd name="adj" fmla="val 4296"/>
            </a:avLst>
          </a:prstGeom>
          <a:solidFill>
            <a:schemeClr val="accent5"/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9" name="Smart phone - content 2"/>
          <p:cNvSpPr>
            <a:spLocks noGrp="1"/>
          </p:cNvSpPr>
          <p:nvPr>
            <p:ph type="pic" sz="quarter" idx="20"/>
          </p:nvPr>
        </p:nvSpPr>
        <p:spPr bwMode="gray">
          <a:xfrm>
            <a:off x="7091530" y="1822901"/>
            <a:ext cx="1981201" cy="3786188"/>
          </a:xfrm>
          <a:prstGeom prst="roundRect">
            <a:avLst>
              <a:gd name="adj" fmla="val 4296"/>
            </a:avLst>
          </a:prstGeom>
          <a:solidFill>
            <a:schemeClr val="accent5"/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8" name="Smart phone - content 1"/>
          <p:cNvSpPr>
            <a:spLocks noGrp="1"/>
          </p:cNvSpPr>
          <p:nvPr>
            <p:ph type="pic" sz="quarter" idx="19"/>
          </p:nvPr>
        </p:nvSpPr>
        <p:spPr bwMode="gray">
          <a:xfrm>
            <a:off x="4744594" y="1822901"/>
            <a:ext cx="1981201" cy="3786188"/>
          </a:xfrm>
          <a:prstGeom prst="roundRect">
            <a:avLst>
              <a:gd name="adj" fmla="val 4296"/>
            </a:avLst>
          </a:prstGeom>
          <a:solidFill>
            <a:schemeClr val="accent5"/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2" name="Content"/>
          <p:cNvSpPr>
            <a:spLocks noGrp="1"/>
          </p:cNvSpPr>
          <p:nvPr>
            <p:ph type="body" sz="quarter" idx="22" hasCustomPrompt="1"/>
          </p:nvPr>
        </p:nvSpPr>
        <p:spPr>
          <a:xfrm>
            <a:off x="396000" y="3143250"/>
            <a:ext cx="3918825" cy="2781300"/>
          </a:xfrm>
        </p:spPr>
        <p:txBody>
          <a:bodyPr/>
          <a:lstStyle>
            <a:lvl1pPr>
              <a:defRPr b="0" baseline="0">
                <a:latin typeface="+mn-lt"/>
              </a:defRPr>
            </a:lvl1pPr>
          </a:lstStyle>
          <a:p>
            <a:pPr lvl="0"/>
            <a:r>
              <a:rPr lang="en-US" dirty="0"/>
              <a:t>Insert text </a:t>
            </a:r>
            <a:r>
              <a:rPr lang="en-US" noProof="0" dirty="0"/>
              <a:t>Corpo S Text Light 20 pt. </a:t>
            </a:r>
            <a:endParaRPr lang="en-US" dirty="0"/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Slide title">
            <a:extLst>
              <a:ext uri="{FF2B5EF4-FFF2-40B4-BE49-F238E27FC236}">
                <a16:creationId xmlns:a16="http://schemas.microsoft.com/office/drawing/2014/main" id="{10EEDD5E-004E-A8E0-7182-6FE4358458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000" y="1961804"/>
            <a:ext cx="3918824" cy="11074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1"/>
              <a:t>Headline</a:t>
            </a:r>
            <a:br>
              <a:rPr lang="en-US" noProof="1"/>
            </a:br>
            <a:r>
              <a:rPr lang="en-US" noProof="1"/>
              <a:t>two lines 36pt.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412931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5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4" name="Image"/>
          <p:cNvSpPr>
            <a:spLocks noGrp="1"/>
          </p:cNvSpPr>
          <p:nvPr>
            <p:ph type="pic" sz="quarter" idx="12"/>
          </p:nvPr>
        </p:nvSpPr>
        <p:spPr bwMode="ltGray">
          <a:xfrm>
            <a:off x="3228975" y="923925"/>
            <a:ext cx="6505575" cy="5238749"/>
          </a:xfrm>
          <a:prstGeom prst="rect">
            <a:avLst/>
          </a:prstGeom>
          <a:solidFill>
            <a:schemeClr val="accent5"/>
          </a:solidFill>
          <a:effectLst/>
        </p:spPr>
        <p:txBody>
          <a:bodyPr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2" name="Slide title"/>
          <p:cNvSpPr>
            <a:spLocks noGrp="1"/>
          </p:cNvSpPr>
          <p:nvPr>
            <p:ph type="title" hasCustomPrompt="1"/>
          </p:nvPr>
        </p:nvSpPr>
        <p:spPr>
          <a:xfrm>
            <a:off x="396000" y="4138073"/>
            <a:ext cx="4871325" cy="538702"/>
          </a:xfrm>
        </p:spPr>
        <p:txBody>
          <a:bodyPr/>
          <a:lstStyle>
            <a:lvl1pPr>
              <a:defRPr sz="3600" baseline="0"/>
            </a:lvl1pPr>
          </a:lstStyle>
          <a:p>
            <a:r>
              <a:rPr lang="en-US" noProof="0" dirty="0"/>
              <a:t>Headline one line in 36pt. </a:t>
            </a:r>
          </a:p>
        </p:txBody>
      </p:sp>
    </p:spTree>
    <p:extLst>
      <p:ext uri="{BB962C8B-B14F-4D97-AF65-F5344CB8AC3E}">
        <p14:creationId xmlns:p14="http://schemas.microsoft.com/office/powerpoint/2010/main" val="22443395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ic overview // Four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25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23" name="Image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6931156" y="4480834"/>
            <a:ext cx="4860000" cy="19440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0" name="Image 3"/>
          <p:cNvSpPr>
            <a:spLocks noGrp="1"/>
          </p:cNvSpPr>
          <p:nvPr>
            <p:ph type="pic" sz="quarter" idx="32" hasCustomPrompt="1"/>
          </p:nvPr>
        </p:nvSpPr>
        <p:spPr bwMode="gray">
          <a:xfrm>
            <a:off x="396000" y="4480834"/>
            <a:ext cx="4860000" cy="19440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2" name="Image 2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6931156" y="2044700"/>
            <a:ext cx="4860000" cy="19440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8" name="Image 1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96000" y="2044700"/>
            <a:ext cx="4860000" cy="19440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Slide title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396661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</p:spTree>
    <p:extLst>
      <p:ext uri="{BB962C8B-B14F-4D97-AF65-F5344CB8AC3E}">
        <p14:creationId xmlns:p14="http://schemas.microsoft.com/office/powerpoint/2010/main" val="13780509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ic overview // Four circl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8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21" name="Image 4"/>
          <p:cNvSpPr>
            <a:spLocks noGrp="1"/>
          </p:cNvSpPr>
          <p:nvPr>
            <p:ph type="pic" sz="quarter" idx="23"/>
          </p:nvPr>
        </p:nvSpPr>
        <p:spPr bwMode="gray">
          <a:xfrm>
            <a:off x="9962724" y="1836154"/>
            <a:ext cx="1574800" cy="1574800"/>
          </a:xfrm>
          <a:prstGeom prst="rect">
            <a:avLst/>
          </a:prstGeom>
          <a:solidFill>
            <a:schemeClr val="accent5"/>
          </a:solidFill>
          <a:ln>
            <a:solidFill>
              <a:schemeClr val="tx2"/>
            </a:solidFill>
          </a:ln>
        </p:spPr>
        <p:txBody>
          <a:bodyPr/>
          <a:lstStyle>
            <a:lvl1pPr marL="0" marR="0" indent="0" algn="ctr" defTabSz="914271" rtl="0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ClrTx/>
              <a:buSzTx/>
              <a:buFont typeface="+mj-lt"/>
              <a:buNone/>
              <a:tabLst/>
              <a:defRPr sz="1600"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20" name="Image 3"/>
          <p:cNvSpPr>
            <a:spLocks noGrp="1"/>
          </p:cNvSpPr>
          <p:nvPr>
            <p:ph type="pic" sz="quarter" idx="22"/>
          </p:nvPr>
        </p:nvSpPr>
        <p:spPr bwMode="gray">
          <a:xfrm>
            <a:off x="6847095" y="1836154"/>
            <a:ext cx="1574800" cy="1574800"/>
          </a:xfrm>
          <a:prstGeom prst="rect">
            <a:avLst/>
          </a:prstGeom>
          <a:solidFill>
            <a:schemeClr val="accent5"/>
          </a:solidFill>
          <a:ln>
            <a:solidFill>
              <a:schemeClr val="tx2"/>
            </a:solidFill>
          </a:ln>
        </p:spPr>
        <p:txBody>
          <a:bodyPr/>
          <a:lstStyle>
            <a:lvl1pPr marL="0" marR="0" indent="0" algn="ctr" defTabSz="914271" rtl="0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ClrTx/>
              <a:buSzTx/>
              <a:buFont typeface="+mj-lt"/>
              <a:buNone/>
              <a:tabLst/>
              <a:defRPr sz="1600"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9" name="Image 2"/>
          <p:cNvSpPr>
            <a:spLocks noGrp="1"/>
          </p:cNvSpPr>
          <p:nvPr>
            <p:ph type="pic" sz="quarter" idx="21"/>
          </p:nvPr>
        </p:nvSpPr>
        <p:spPr bwMode="gray">
          <a:xfrm>
            <a:off x="3731465" y="1836154"/>
            <a:ext cx="1574800" cy="1574800"/>
          </a:xfrm>
          <a:prstGeom prst="rect">
            <a:avLst/>
          </a:prstGeom>
          <a:solidFill>
            <a:schemeClr val="accent5"/>
          </a:solidFill>
          <a:ln>
            <a:solidFill>
              <a:schemeClr val="tx2"/>
            </a:solidFill>
          </a:ln>
        </p:spPr>
        <p:txBody>
          <a:bodyPr/>
          <a:lstStyle>
            <a:lvl1pPr marL="0" marR="0" indent="0" algn="ctr" defTabSz="914271" rtl="0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ClrTx/>
              <a:buSzTx/>
              <a:buFont typeface="+mj-lt"/>
              <a:buNone/>
              <a:tabLst/>
              <a:defRPr sz="1600"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7" name="Image 1"/>
          <p:cNvSpPr>
            <a:spLocks noGrp="1"/>
          </p:cNvSpPr>
          <p:nvPr>
            <p:ph type="pic" sz="quarter" idx="20"/>
          </p:nvPr>
        </p:nvSpPr>
        <p:spPr bwMode="gray">
          <a:xfrm>
            <a:off x="615835" y="1836154"/>
            <a:ext cx="1574800" cy="1574800"/>
          </a:xfrm>
          <a:prstGeom prst="rect">
            <a:avLst/>
          </a:prstGeom>
          <a:solidFill>
            <a:schemeClr val="accent5"/>
          </a:solidFill>
          <a:ln>
            <a:solidFill>
              <a:schemeClr val="tx2"/>
            </a:solidFill>
          </a:ln>
        </p:spPr>
        <p:txBody>
          <a:bodyPr/>
          <a:lstStyle>
            <a:lvl1pPr algn="ctr">
              <a:defRPr sz="1600"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0" name="Slide title"/>
          <p:cNvSpPr>
            <a:spLocks noGrp="1"/>
          </p:cNvSpPr>
          <p:nvPr>
            <p:ph type="title" hasCustomPrompt="1"/>
          </p:nvPr>
        </p:nvSpPr>
        <p:spPr>
          <a:xfrm>
            <a:off x="395290" y="368300"/>
            <a:ext cx="11397600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</p:spTree>
    <p:extLst>
      <p:ext uri="{BB962C8B-B14F-4D97-AF65-F5344CB8AC3E}">
        <p14:creationId xmlns:p14="http://schemas.microsoft.com/office/powerpoint/2010/main" val="34751890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//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7">
            <a:extLst>
              <a:ext uri="{FF2B5EF4-FFF2-40B4-BE49-F238E27FC236}">
                <a16:creationId xmlns:a16="http://schemas.microsoft.com/office/drawing/2014/main" id="{9E333EB1-C4EF-09A9-652D-2E65FCE5332C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 bwMode="black">
          <a:xfrm>
            <a:off x="-14216" y="-22554"/>
            <a:ext cx="6235035" cy="6900432"/>
          </a:xfrm>
          <a:custGeom>
            <a:avLst/>
            <a:gdLst>
              <a:gd name="connsiteX0" fmla="*/ 0 w 5058716"/>
              <a:gd name="connsiteY0" fmla="*/ 2668006 h 5336011"/>
              <a:gd name="connsiteX1" fmla="*/ 2529358 w 5058716"/>
              <a:gd name="connsiteY1" fmla="*/ 0 h 5336011"/>
              <a:gd name="connsiteX2" fmla="*/ 5058716 w 5058716"/>
              <a:gd name="connsiteY2" fmla="*/ 2668006 h 5336011"/>
              <a:gd name="connsiteX3" fmla="*/ 2529358 w 5058716"/>
              <a:gd name="connsiteY3" fmla="*/ 5336011 h 5336011"/>
              <a:gd name="connsiteX4" fmla="*/ 0 w 5058716"/>
              <a:gd name="connsiteY4" fmla="*/ 2668006 h 5336011"/>
              <a:gd name="connsiteX0" fmla="*/ 0 w 5058716"/>
              <a:gd name="connsiteY0" fmla="*/ 2651073 h 5319078"/>
              <a:gd name="connsiteX1" fmla="*/ 319558 w 5058716"/>
              <a:gd name="connsiteY1" fmla="*/ 0 h 5319078"/>
              <a:gd name="connsiteX2" fmla="*/ 5058716 w 5058716"/>
              <a:gd name="connsiteY2" fmla="*/ 2651073 h 5319078"/>
              <a:gd name="connsiteX3" fmla="*/ 2529358 w 5058716"/>
              <a:gd name="connsiteY3" fmla="*/ 5319078 h 5319078"/>
              <a:gd name="connsiteX4" fmla="*/ 0 w 5058716"/>
              <a:gd name="connsiteY4" fmla="*/ 2651073 h 5319078"/>
              <a:gd name="connsiteX0" fmla="*/ 0 w 5075649"/>
              <a:gd name="connsiteY0" fmla="*/ 5131806 h 5319078"/>
              <a:gd name="connsiteX1" fmla="*/ 336491 w 5075649"/>
              <a:gd name="connsiteY1" fmla="*/ 0 h 5319078"/>
              <a:gd name="connsiteX2" fmla="*/ 5075649 w 5075649"/>
              <a:gd name="connsiteY2" fmla="*/ 2651073 h 5319078"/>
              <a:gd name="connsiteX3" fmla="*/ 2546291 w 5075649"/>
              <a:gd name="connsiteY3" fmla="*/ 5319078 h 5319078"/>
              <a:gd name="connsiteX4" fmla="*/ 0 w 5075649"/>
              <a:gd name="connsiteY4" fmla="*/ 5131806 h 5319078"/>
              <a:gd name="connsiteX0" fmla="*/ 0 w 4931716"/>
              <a:gd name="connsiteY0" fmla="*/ 5131806 h 5319078"/>
              <a:gd name="connsiteX1" fmla="*/ 336491 w 4931716"/>
              <a:gd name="connsiteY1" fmla="*/ 0 h 5319078"/>
              <a:gd name="connsiteX2" fmla="*/ 4931716 w 4931716"/>
              <a:gd name="connsiteY2" fmla="*/ 1006 h 5319078"/>
              <a:gd name="connsiteX3" fmla="*/ 2546291 w 4931716"/>
              <a:gd name="connsiteY3" fmla="*/ 5319078 h 5319078"/>
              <a:gd name="connsiteX4" fmla="*/ 0 w 4931716"/>
              <a:gd name="connsiteY4" fmla="*/ 5131806 h 5319078"/>
              <a:gd name="connsiteX0" fmla="*/ 0 w 4931716"/>
              <a:gd name="connsiteY0" fmla="*/ 5131806 h 5149745"/>
              <a:gd name="connsiteX1" fmla="*/ 336491 w 4931716"/>
              <a:gd name="connsiteY1" fmla="*/ 0 h 5149745"/>
              <a:gd name="connsiteX2" fmla="*/ 4931716 w 4931716"/>
              <a:gd name="connsiteY2" fmla="*/ 1006 h 5149745"/>
              <a:gd name="connsiteX3" fmla="*/ 4916958 w 4931716"/>
              <a:gd name="connsiteY3" fmla="*/ 5149745 h 5149745"/>
              <a:gd name="connsiteX4" fmla="*/ 0 w 4931716"/>
              <a:gd name="connsiteY4" fmla="*/ 5131806 h 5149745"/>
              <a:gd name="connsiteX0" fmla="*/ 264643 w 4595225"/>
              <a:gd name="connsiteY0" fmla="*/ 4852406 h 5149745"/>
              <a:gd name="connsiteX1" fmla="*/ 0 w 4595225"/>
              <a:gd name="connsiteY1" fmla="*/ 0 h 5149745"/>
              <a:gd name="connsiteX2" fmla="*/ 4595225 w 4595225"/>
              <a:gd name="connsiteY2" fmla="*/ 1006 h 5149745"/>
              <a:gd name="connsiteX3" fmla="*/ 4580467 w 4595225"/>
              <a:gd name="connsiteY3" fmla="*/ 5149745 h 5149745"/>
              <a:gd name="connsiteX4" fmla="*/ 264643 w 4595225"/>
              <a:gd name="connsiteY4" fmla="*/ 4852406 h 5149745"/>
              <a:gd name="connsiteX0" fmla="*/ 0 w 4830115"/>
              <a:gd name="connsiteY0" fmla="*/ 5140273 h 5149745"/>
              <a:gd name="connsiteX1" fmla="*/ 234890 w 4830115"/>
              <a:gd name="connsiteY1" fmla="*/ 0 h 5149745"/>
              <a:gd name="connsiteX2" fmla="*/ 4830115 w 4830115"/>
              <a:gd name="connsiteY2" fmla="*/ 1006 h 5149745"/>
              <a:gd name="connsiteX3" fmla="*/ 4815357 w 4830115"/>
              <a:gd name="connsiteY3" fmla="*/ 5149745 h 5149745"/>
              <a:gd name="connsiteX4" fmla="*/ 0 w 4830115"/>
              <a:gd name="connsiteY4" fmla="*/ 5140273 h 5149745"/>
              <a:gd name="connsiteX0" fmla="*/ 0 w 4931715"/>
              <a:gd name="connsiteY0" fmla="*/ 5157206 h 5157206"/>
              <a:gd name="connsiteX1" fmla="*/ 336490 w 4931715"/>
              <a:gd name="connsiteY1" fmla="*/ 0 h 5157206"/>
              <a:gd name="connsiteX2" fmla="*/ 4931715 w 4931715"/>
              <a:gd name="connsiteY2" fmla="*/ 1006 h 5157206"/>
              <a:gd name="connsiteX3" fmla="*/ 4916957 w 4931715"/>
              <a:gd name="connsiteY3" fmla="*/ 5149745 h 5157206"/>
              <a:gd name="connsiteX4" fmla="*/ 0 w 4931715"/>
              <a:gd name="connsiteY4" fmla="*/ 5157206 h 5157206"/>
              <a:gd name="connsiteX0" fmla="*/ 0 w 4940182"/>
              <a:gd name="connsiteY0" fmla="*/ 5131806 h 5149745"/>
              <a:gd name="connsiteX1" fmla="*/ 344957 w 4940182"/>
              <a:gd name="connsiteY1" fmla="*/ 0 h 5149745"/>
              <a:gd name="connsiteX2" fmla="*/ 4940182 w 4940182"/>
              <a:gd name="connsiteY2" fmla="*/ 1006 h 5149745"/>
              <a:gd name="connsiteX3" fmla="*/ 4925424 w 4940182"/>
              <a:gd name="connsiteY3" fmla="*/ 5149745 h 5149745"/>
              <a:gd name="connsiteX4" fmla="*/ 0 w 4940182"/>
              <a:gd name="connsiteY4" fmla="*/ 5131806 h 5149745"/>
              <a:gd name="connsiteX0" fmla="*/ 0 w 4940182"/>
              <a:gd name="connsiteY0" fmla="*/ 5140272 h 5149745"/>
              <a:gd name="connsiteX1" fmla="*/ 344957 w 4940182"/>
              <a:gd name="connsiteY1" fmla="*/ 0 h 5149745"/>
              <a:gd name="connsiteX2" fmla="*/ 4940182 w 4940182"/>
              <a:gd name="connsiteY2" fmla="*/ 1006 h 5149745"/>
              <a:gd name="connsiteX3" fmla="*/ 4925424 w 4940182"/>
              <a:gd name="connsiteY3" fmla="*/ 5149745 h 5149745"/>
              <a:gd name="connsiteX4" fmla="*/ 0 w 4940182"/>
              <a:gd name="connsiteY4" fmla="*/ 5140272 h 5149745"/>
              <a:gd name="connsiteX0" fmla="*/ 0 w 4943565"/>
              <a:gd name="connsiteY0" fmla="*/ 5140272 h 5166678"/>
              <a:gd name="connsiteX1" fmla="*/ 344957 w 4943565"/>
              <a:gd name="connsiteY1" fmla="*/ 0 h 5166678"/>
              <a:gd name="connsiteX2" fmla="*/ 4940182 w 4943565"/>
              <a:gd name="connsiteY2" fmla="*/ 1006 h 5166678"/>
              <a:gd name="connsiteX3" fmla="*/ 4942357 w 4943565"/>
              <a:gd name="connsiteY3" fmla="*/ 5166678 h 5166678"/>
              <a:gd name="connsiteX4" fmla="*/ 0 w 4943565"/>
              <a:gd name="connsiteY4" fmla="*/ 5140272 h 5166678"/>
              <a:gd name="connsiteX0" fmla="*/ 0 w 4940182"/>
              <a:gd name="connsiteY0" fmla="*/ 51402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40272 h 5166678"/>
              <a:gd name="connsiteX0" fmla="*/ 0 w 4940182"/>
              <a:gd name="connsiteY0" fmla="*/ 51402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40272 h 5166678"/>
              <a:gd name="connsiteX0" fmla="*/ 0 w 4940182"/>
              <a:gd name="connsiteY0" fmla="*/ 51529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52972 h 5166678"/>
              <a:gd name="connsiteX0" fmla="*/ 0 w 4940182"/>
              <a:gd name="connsiteY0" fmla="*/ 51529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52972 h 5166678"/>
              <a:gd name="connsiteX0" fmla="*/ 0 w 4944933"/>
              <a:gd name="connsiteY0" fmla="*/ 5172090 h 5172090"/>
              <a:gd name="connsiteX1" fmla="*/ 349708 w 4944933"/>
              <a:gd name="connsiteY1" fmla="*/ 0 h 5172090"/>
              <a:gd name="connsiteX2" fmla="*/ 4944933 w 4944933"/>
              <a:gd name="connsiteY2" fmla="*/ 1006 h 5172090"/>
              <a:gd name="connsiteX3" fmla="*/ 4938641 w 4944933"/>
              <a:gd name="connsiteY3" fmla="*/ 5166678 h 5172090"/>
              <a:gd name="connsiteX4" fmla="*/ 0 w 4944933"/>
              <a:gd name="connsiteY4" fmla="*/ 5172090 h 5172090"/>
              <a:gd name="connsiteX0" fmla="*/ 0 w 4953761"/>
              <a:gd name="connsiteY0" fmla="*/ 5172090 h 5176237"/>
              <a:gd name="connsiteX1" fmla="*/ 349708 w 4953761"/>
              <a:gd name="connsiteY1" fmla="*/ 0 h 5176237"/>
              <a:gd name="connsiteX2" fmla="*/ 4944933 w 4953761"/>
              <a:gd name="connsiteY2" fmla="*/ 1006 h 5176237"/>
              <a:gd name="connsiteX3" fmla="*/ 4952893 w 4953761"/>
              <a:gd name="connsiteY3" fmla="*/ 5176237 h 5176237"/>
              <a:gd name="connsiteX4" fmla="*/ 0 w 4953761"/>
              <a:gd name="connsiteY4" fmla="*/ 5172090 h 5176237"/>
              <a:gd name="connsiteX0" fmla="*/ 0 w 4959185"/>
              <a:gd name="connsiteY0" fmla="*/ 5172090 h 5176237"/>
              <a:gd name="connsiteX1" fmla="*/ 349708 w 4959185"/>
              <a:gd name="connsiteY1" fmla="*/ 0 h 5176237"/>
              <a:gd name="connsiteX2" fmla="*/ 4959185 w 4959185"/>
              <a:gd name="connsiteY2" fmla="*/ 1006 h 5176237"/>
              <a:gd name="connsiteX3" fmla="*/ 4952893 w 4959185"/>
              <a:gd name="connsiteY3" fmla="*/ 5176237 h 5176237"/>
              <a:gd name="connsiteX4" fmla="*/ 0 w 4959185"/>
              <a:gd name="connsiteY4" fmla="*/ 5172090 h 5176237"/>
              <a:gd name="connsiteX0" fmla="*/ 0 w 4959185"/>
              <a:gd name="connsiteY0" fmla="*/ 5172090 h 5172090"/>
              <a:gd name="connsiteX1" fmla="*/ 349708 w 4959185"/>
              <a:gd name="connsiteY1" fmla="*/ 0 h 5172090"/>
              <a:gd name="connsiteX2" fmla="*/ 4959185 w 4959185"/>
              <a:gd name="connsiteY2" fmla="*/ 1006 h 5172090"/>
              <a:gd name="connsiteX3" fmla="*/ 4610488 w 4959185"/>
              <a:gd name="connsiteY3" fmla="*/ 5169761 h 5172090"/>
              <a:gd name="connsiteX4" fmla="*/ 0 w 4959185"/>
              <a:gd name="connsiteY4" fmla="*/ 5172090 h 5172090"/>
              <a:gd name="connsiteX0" fmla="*/ 0 w 4959185"/>
              <a:gd name="connsiteY0" fmla="*/ 5172090 h 5172090"/>
              <a:gd name="connsiteX1" fmla="*/ 349708 w 4959185"/>
              <a:gd name="connsiteY1" fmla="*/ 0 h 5172090"/>
              <a:gd name="connsiteX2" fmla="*/ 4959185 w 4959185"/>
              <a:gd name="connsiteY2" fmla="*/ 1006 h 5172090"/>
              <a:gd name="connsiteX3" fmla="*/ 4474818 w 4959185"/>
              <a:gd name="connsiteY3" fmla="*/ 5169761 h 5172090"/>
              <a:gd name="connsiteX4" fmla="*/ 0 w 4959185"/>
              <a:gd name="connsiteY4" fmla="*/ 5172090 h 5172090"/>
              <a:gd name="connsiteX0" fmla="*/ 0 w 4959185"/>
              <a:gd name="connsiteY0" fmla="*/ 5172090 h 5176237"/>
              <a:gd name="connsiteX1" fmla="*/ 349708 w 4959185"/>
              <a:gd name="connsiteY1" fmla="*/ 0 h 5176237"/>
              <a:gd name="connsiteX2" fmla="*/ 4959185 w 4959185"/>
              <a:gd name="connsiteY2" fmla="*/ 1006 h 5176237"/>
              <a:gd name="connsiteX3" fmla="*/ 4616949 w 4959185"/>
              <a:gd name="connsiteY3" fmla="*/ 5176237 h 5176237"/>
              <a:gd name="connsiteX4" fmla="*/ 0 w 4959185"/>
              <a:gd name="connsiteY4" fmla="*/ 5172090 h 5176237"/>
              <a:gd name="connsiteX0" fmla="*/ 0 w 4959185"/>
              <a:gd name="connsiteY0" fmla="*/ 5172090 h 5176237"/>
              <a:gd name="connsiteX1" fmla="*/ 349708 w 4959185"/>
              <a:gd name="connsiteY1" fmla="*/ 0 h 5176237"/>
              <a:gd name="connsiteX2" fmla="*/ 4959185 w 4959185"/>
              <a:gd name="connsiteY2" fmla="*/ 1006 h 5176237"/>
              <a:gd name="connsiteX3" fmla="*/ 4616949 w 4959185"/>
              <a:gd name="connsiteY3" fmla="*/ 5176237 h 5176237"/>
              <a:gd name="connsiteX4" fmla="*/ 0 w 4959185"/>
              <a:gd name="connsiteY4" fmla="*/ 5172090 h 5176237"/>
              <a:gd name="connsiteX0" fmla="*/ 0 w 4959626"/>
              <a:gd name="connsiteY0" fmla="*/ 5172090 h 5176237"/>
              <a:gd name="connsiteX1" fmla="*/ 349708 w 4959626"/>
              <a:gd name="connsiteY1" fmla="*/ 0 h 5176237"/>
              <a:gd name="connsiteX2" fmla="*/ 4959185 w 4959626"/>
              <a:gd name="connsiteY2" fmla="*/ 1006 h 5176237"/>
              <a:gd name="connsiteX3" fmla="*/ 4616949 w 4959626"/>
              <a:gd name="connsiteY3" fmla="*/ 5176237 h 5176237"/>
              <a:gd name="connsiteX4" fmla="*/ 0 w 4959626"/>
              <a:gd name="connsiteY4" fmla="*/ 5172090 h 5176237"/>
              <a:gd name="connsiteX0" fmla="*/ 0 w 4959626"/>
              <a:gd name="connsiteY0" fmla="*/ 5171084 h 5175231"/>
              <a:gd name="connsiteX1" fmla="*/ 7303 w 4959626"/>
              <a:gd name="connsiteY1" fmla="*/ 31376 h 5175231"/>
              <a:gd name="connsiteX2" fmla="*/ 4959185 w 4959626"/>
              <a:gd name="connsiteY2" fmla="*/ 0 h 5175231"/>
              <a:gd name="connsiteX3" fmla="*/ 4616949 w 4959626"/>
              <a:gd name="connsiteY3" fmla="*/ 5175231 h 5175231"/>
              <a:gd name="connsiteX4" fmla="*/ 0 w 4959626"/>
              <a:gd name="connsiteY4" fmla="*/ 5171084 h 5175231"/>
              <a:gd name="connsiteX0" fmla="*/ 68847 w 4952383"/>
              <a:gd name="connsiteY0" fmla="*/ 5147248 h 5175231"/>
              <a:gd name="connsiteX1" fmla="*/ 60 w 4952383"/>
              <a:gd name="connsiteY1" fmla="*/ 31376 h 5175231"/>
              <a:gd name="connsiteX2" fmla="*/ 4951942 w 4952383"/>
              <a:gd name="connsiteY2" fmla="*/ 0 h 5175231"/>
              <a:gd name="connsiteX3" fmla="*/ 4609706 w 4952383"/>
              <a:gd name="connsiteY3" fmla="*/ 5175231 h 5175231"/>
              <a:gd name="connsiteX4" fmla="*/ 68847 w 4952383"/>
              <a:gd name="connsiteY4" fmla="*/ 5147248 h 5175231"/>
              <a:gd name="connsiteX0" fmla="*/ 282807 w 4952339"/>
              <a:gd name="connsiteY0" fmla="*/ 5190155 h 5190155"/>
              <a:gd name="connsiteX1" fmla="*/ 16 w 4952339"/>
              <a:gd name="connsiteY1" fmla="*/ 31376 h 5190155"/>
              <a:gd name="connsiteX2" fmla="*/ 4951898 w 4952339"/>
              <a:gd name="connsiteY2" fmla="*/ 0 h 5190155"/>
              <a:gd name="connsiteX3" fmla="*/ 4609662 w 4952339"/>
              <a:gd name="connsiteY3" fmla="*/ 5175231 h 5190155"/>
              <a:gd name="connsiteX4" fmla="*/ 282807 w 4952339"/>
              <a:gd name="connsiteY4" fmla="*/ 5190155 h 5190155"/>
              <a:gd name="connsiteX0" fmla="*/ 0 w 4669532"/>
              <a:gd name="connsiteY0" fmla="*/ 5190155 h 5190155"/>
              <a:gd name="connsiteX1" fmla="*/ 164238 w 4669532"/>
              <a:gd name="connsiteY1" fmla="*/ 527183 h 5190155"/>
              <a:gd name="connsiteX2" fmla="*/ 4669091 w 4669532"/>
              <a:gd name="connsiteY2" fmla="*/ 0 h 5190155"/>
              <a:gd name="connsiteX3" fmla="*/ 4326855 w 4669532"/>
              <a:gd name="connsiteY3" fmla="*/ 5175231 h 5190155"/>
              <a:gd name="connsiteX4" fmla="*/ 0 w 4669532"/>
              <a:gd name="connsiteY4" fmla="*/ 5190155 h 5190155"/>
              <a:gd name="connsiteX0" fmla="*/ 0 w 4669532"/>
              <a:gd name="connsiteY0" fmla="*/ 5190155 h 5190155"/>
              <a:gd name="connsiteX1" fmla="*/ 2546 w 4669532"/>
              <a:gd name="connsiteY1" fmla="*/ 21841 h 5190155"/>
              <a:gd name="connsiteX2" fmla="*/ 4669091 w 4669532"/>
              <a:gd name="connsiteY2" fmla="*/ 0 h 5190155"/>
              <a:gd name="connsiteX3" fmla="*/ 4326855 w 4669532"/>
              <a:gd name="connsiteY3" fmla="*/ 5175231 h 5190155"/>
              <a:gd name="connsiteX4" fmla="*/ 0 w 4669532"/>
              <a:gd name="connsiteY4" fmla="*/ 5190155 h 5190155"/>
              <a:gd name="connsiteX0" fmla="*/ 0 w 4669532"/>
              <a:gd name="connsiteY0" fmla="*/ 5180620 h 5180620"/>
              <a:gd name="connsiteX1" fmla="*/ 2546 w 4669532"/>
              <a:gd name="connsiteY1" fmla="*/ 12306 h 5180620"/>
              <a:gd name="connsiteX2" fmla="*/ 4669091 w 4669532"/>
              <a:gd name="connsiteY2" fmla="*/ 0 h 5180620"/>
              <a:gd name="connsiteX3" fmla="*/ 4326855 w 4669532"/>
              <a:gd name="connsiteY3" fmla="*/ 5165696 h 5180620"/>
              <a:gd name="connsiteX4" fmla="*/ 0 w 4669532"/>
              <a:gd name="connsiteY4" fmla="*/ 5180620 h 5180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69532" h="5180620">
                <a:moveTo>
                  <a:pt x="0" y="5180620"/>
                </a:moveTo>
                <a:cubicBezTo>
                  <a:pt x="2434" y="3467384"/>
                  <a:pt x="112" y="1725542"/>
                  <a:pt x="2546" y="12306"/>
                </a:cubicBezTo>
                <a:lnTo>
                  <a:pt x="4669091" y="0"/>
                </a:lnTo>
                <a:cubicBezTo>
                  <a:pt x="4683553" y="12945"/>
                  <a:pt x="4338235" y="5159228"/>
                  <a:pt x="4326855" y="5165696"/>
                </a:cubicBezTo>
                <a:lnTo>
                  <a:pt x="0" y="518062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lIns="0" tIns="0" rIns="0" bIns="0"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2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8" name="Content"/>
          <p:cNvSpPr>
            <a:spLocks noGrp="1"/>
          </p:cNvSpPr>
          <p:nvPr>
            <p:ph sz="quarter" idx="21" hasCustomPrompt="1"/>
          </p:nvPr>
        </p:nvSpPr>
        <p:spPr bwMode="invGray">
          <a:xfrm>
            <a:off x="6524624" y="2368821"/>
            <a:ext cx="5264151" cy="4060553"/>
          </a:xfrm>
        </p:spPr>
        <p:txBody>
          <a:bodyPr/>
          <a:lstStyle/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Slide title"/>
          <p:cNvSpPr>
            <a:spLocks noGrp="1"/>
          </p:cNvSpPr>
          <p:nvPr>
            <p:ph type="ctrTitle" hasCustomPrompt="1"/>
          </p:nvPr>
        </p:nvSpPr>
        <p:spPr bwMode="invGray">
          <a:xfrm>
            <a:off x="6524625" y="1138423"/>
            <a:ext cx="5264150" cy="1128528"/>
          </a:xfrm>
        </p:spPr>
        <p:txBody>
          <a:bodyPr/>
          <a:lstStyle>
            <a:lvl1pPr>
              <a:lnSpc>
                <a:spcPct val="100000"/>
              </a:lnSpc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</a:p>
        </p:txBody>
      </p:sp>
    </p:spTree>
    <p:extLst>
      <p:ext uri="{BB962C8B-B14F-4D97-AF65-F5344CB8AC3E}">
        <p14:creationId xmlns:p14="http://schemas.microsoft.com/office/powerpoint/2010/main" val="13799273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// centred vertical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9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5" name="Diagram placeholder"/>
          <p:cNvSpPr>
            <a:spLocks noGrp="1"/>
          </p:cNvSpPr>
          <p:nvPr>
            <p:ph type="chart" sz="quarter" idx="18"/>
          </p:nvPr>
        </p:nvSpPr>
        <p:spPr bwMode="gray">
          <a:xfrm>
            <a:off x="4663267" y="1543049"/>
            <a:ext cx="7128684" cy="4524375"/>
          </a:xfrm>
          <a:solidFill>
            <a:schemeClr val="accent5"/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de-DE" noProof="0"/>
              <a:t>Diagramm durch Klicken auf Symbol hinzufügen</a:t>
            </a:r>
            <a:endParaRPr lang="en-US" noProof="0" dirty="0"/>
          </a:p>
        </p:txBody>
      </p:sp>
      <p:sp>
        <p:nvSpPr>
          <p:cNvPr id="13" name="Content"/>
          <p:cNvSpPr>
            <a:spLocks noGrp="1"/>
          </p:cNvSpPr>
          <p:nvPr>
            <p:ph type="body" sz="quarter" idx="17" hasCustomPrompt="1"/>
          </p:nvPr>
        </p:nvSpPr>
        <p:spPr>
          <a:xfrm>
            <a:off x="719997" y="3226324"/>
            <a:ext cx="3509103" cy="2107628"/>
          </a:xfrm>
        </p:spPr>
        <p:txBody>
          <a:bodyPr/>
          <a:lstStyle>
            <a:lvl1pPr>
              <a:defRPr sz="1600" b="0" baseline="0">
                <a:latin typeface="+mn-lt"/>
              </a:defRPr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16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14" name="Slide title"/>
          <p:cNvSpPr>
            <a:spLocks noGrp="1"/>
          </p:cNvSpPr>
          <p:nvPr>
            <p:ph type="title" hasCustomPrompt="1"/>
          </p:nvPr>
        </p:nvSpPr>
        <p:spPr>
          <a:xfrm>
            <a:off x="720001" y="2015461"/>
            <a:ext cx="3509100" cy="1210864"/>
          </a:xfrm>
        </p:spPr>
        <p:txBody>
          <a:bodyPr/>
          <a:lstStyle>
            <a:lvl1pPr>
              <a:defRPr sz="3600" baseline="0"/>
            </a:lvl1pPr>
          </a:lstStyle>
          <a:p>
            <a:r>
              <a:rPr lang="en-US" noProof="0" dirty="0"/>
              <a:t>Headline two lines in Corpo A Title Cond. </a:t>
            </a:r>
          </a:p>
        </p:txBody>
      </p:sp>
    </p:spTree>
    <p:extLst>
      <p:ext uri="{BB962C8B-B14F-4D97-AF65-F5344CB8AC3E}">
        <p14:creationId xmlns:p14="http://schemas.microsoft.com/office/powerpoint/2010/main" val="26990564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// Multipicture">
    <p:bg bwMode="black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ackground with Mercedes star and word mark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33" y="0"/>
            <a:ext cx="12193521" cy="6857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Image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4800490" cy="3524588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endParaRPr lang="en-US" noProof="0" dirty="0"/>
          </a:p>
          <a:p>
            <a:endParaRPr lang="en-US" noProof="0" dirty="0"/>
          </a:p>
          <a:p>
            <a:r>
              <a:rPr lang="en-US" noProof="0" dirty="0"/>
              <a:t>Insert image</a:t>
            </a:r>
          </a:p>
        </p:txBody>
      </p:sp>
      <p:sp>
        <p:nvSpPr>
          <p:cNvPr id="39" name="Image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1128882" y="3587286"/>
            <a:ext cx="6722856" cy="3269573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1" name="Image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858692" y="1286288"/>
            <a:ext cx="2995717" cy="22383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5" name="Additional text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8074799" y="2382180"/>
            <a:ext cx="3713976" cy="674687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600"/>
            </a:lvl1pPr>
          </a:lstStyle>
          <a:p>
            <a:pPr lvl="0"/>
            <a:r>
              <a:rPr lang="en-US" noProof="0" dirty="0"/>
              <a:t>Additional text for presentation 16 pt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15" name="Title"/>
          <p:cNvSpPr>
            <a:spLocks noGrp="1"/>
          </p:cNvSpPr>
          <p:nvPr>
            <p:ph type="ctrTitle" hasCustomPrompt="1"/>
          </p:nvPr>
        </p:nvSpPr>
        <p:spPr bwMode="white">
          <a:xfrm>
            <a:off x="8075613" y="1138422"/>
            <a:ext cx="3713162" cy="1222563"/>
          </a:xfrm>
        </p:spPr>
        <p:txBody>
          <a:bodyPr/>
          <a:lstStyle>
            <a:lvl1pPr>
              <a:lnSpc>
                <a:spcPct val="100000"/>
              </a:lnSpc>
              <a:defRPr sz="3600"/>
            </a:lvl1pPr>
          </a:lstStyle>
          <a:p>
            <a:r>
              <a:rPr lang="en-US" noProof="0" dirty="0"/>
              <a:t>Presentation title in 36 pt on two lines.</a:t>
            </a:r>
          </a:p>
        </p:txBody>
      </p:sp>
      <p:pic>
        <p:nvPicPr>
          <p:cNvPr id="2" name="Wortmarke Mercedes-Benz" descr="Y:\KiA\OV\PLATIS\JOB 1508-002_PPT_Mercedes_Benz_2010\allMaterial\1508-005_Material + Briefing\Material\MZ-Assets\MB-word-mark_p_3Coffice.emf">
            <a:extLst>
              <a:ext uri="{FF2B5EF4-FFF2-40B4-BE49-F238E27FC236}">
                <a16:creationId xmlns:a16="http://schemas.microsoft.com/office/drawing/2014/main" id="{C0591D1A-C056-A996-3000-9F710681138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8057865" y="6148680"/>
            <a:ext cx="1475338" cy="185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4129806D-03B8-DC4C-1453-191EE9CE575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7526" y="369155"/>
            <a:ext cx="1591858" cy="547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44396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5" pos="5082">
          <p15:clr>
            <a:srgbClr val="A4A3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// Image-Tex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8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7" name="Text 2"/>
          <p:cNvSpPr>
            <a:spLocks noGrp="1"/>
          </p:cNvSpPr>
          <p:nvPr>
            <p:ph sz="quarter" idx="20" hasCustomPrompt="1"/>
          </p:nvPr>
        </p:nvSpPr>
        <p:spPr>
          <a:xfrm>
            <a:off x="6211276" y="3514724"/>
            <a:ext cx="5580000" cy="291147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0" name="Image 2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6215126" y="1512000"/>
            <a:ext cx="5579999" cy="19440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5" name="Text 1"/>
          <p:cNvSpPr>
            <a:spLocks noGrp="1"/>
          </p:cNvSpPr>
          <p:nvPr>
            <p:ph sz="quarter" idx="14" hasCustomPrompt="1"/>
          </p:nvPr>
        </p:nvSpPr>
        <p:spPr>
          <a:xfrm>
            <a:off x="395287" y="3514725"/>
            <a:ext cx="5580000" cy="29114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9" name="Image 1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1512000"/>
            <a:ext cx="5579999" cy="19440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Slide title"/>
          <p:cNvSpPr>
            <a:spLocks noGrp="1"/>
          </p:cNvSpPr>
          <p:nvPr>
            <p:ph type="title" hasCustomPrompt="1"/>
          </p:nvPr>
        </p:nvSpPr>
        <p:spPr>
          <a:xfrm>
            <a:off x="395290" y="368300"/>
            <a:ext cx="11397600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</p:spTree>
    <p:extLst>
      <p:ext uri="{BB962C8B-B14F-4D97-AF65-F5344CB8AC3E}">
        <p14:creationId xmlns:p14="http://schemas.microsoft.com/office/powerpoint/2010/main" val="22729289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// Imag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5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9" name="Caption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0" y="6030980"/>
            <a:ext cx="113976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en-US" noProof="0" dirty="0"/>
              <a:t>Caption in Corpo S Text Light in 16pt.</a:t>
            </a:r>
          </a:p>
        </p:txBody>
      </p:sp>
      <p:sp>
        <p:nvSpPr>
          <p:cNvPr id="17" name="Image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1"/>
            <a:ext cx="11397600" cy="4467886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Slide title"/>
          <p:cNvSpPr>
            <a:spLocks noGrp="1"/>
          </p:cNvSpPr>
          <p:nvPr>
            <p:ph type="title" hasCustomPrompt="1"/>
          </p:nvPr>
        </p:nvSpPr>
        <p:spPr>
          <a:xfrm>
            <a:off x="395290" y="368300"/>
            <a:ext cx="11397600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</p:spTree>
    <p:extLst>
      <p:ext uri="{BB962C8B-B14F-4D97-AF65-F5344CB8AC3E}">
        <p14:creationId xmlns:p14="http://schemas.microsoft.com/office/powerpoint/2010/main" val="10679006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73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1" name="Spacing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/>
          </a:p>
        </p:txBody>
      </p:sp>
      <p:sp>
        <p:nvSpPr>
          <p:cNvPr id="86" name="Caption"/>
          <p:cNvSpPr>
            <a:spLocks noGrp="1"/>
          </p:cNvSpPr>
          <p:nvPr>
            <p:ph type="body" sz="quarter" idx="12" hasCustomPrompt="1"/>
          </p:nvPr>
        </p:nvSpPr>
        <p:spPr>
          <a:xfrm>
            <a:off x="395288" y="5436002"/>
            <a:ext cx="11397600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 marL="0" indent="0">
              <a:spcAft>
                <a:spcPts val="0"/>
              </a:spcAft>
              <a:buNone/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 </a:t>
            </a:r>
            <a:r>
              <a:rPr lang="en-US" dirty="0"/>
              <a:t>// for bullets: Home // Paragraph// Increase/Decrease List Level</a:t>
            </a:r>
          </a:p>
        </p:txBody>
      </p:sp>
      <p:sp>
        <p:nvSpPr>
          <p:cNvPr id="100" name="Image 11"/>
          <p:cNvSpPr>
            <a:spLocks noGrp="1"/>
          </p:cNvSpPr>
          <p:nvPr>
            <p:ph type="pic" sz="quarter" idx="31" hasCustomPrompt="1"/>
          </p:nvPr>
        </p:nvSpPr>
        <p:spPr bwMode="gray">
          <a:xfrm>
            <a:off x="8046676" y="3495677"/>
            <a:ext cx="3747600" cy="191113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4" name="Image 10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6134151" y="4486747"/>
            <a:ext cx="1841010" cy="92006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7" name="Image 9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2402" y="4486747"/>
            <a:ext cx="1839600" cy="92006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2" name="Image 8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4222402" y="2503829"/>
            <a:ext cx="3752492" cy="1910916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0" name="Image 7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95288" y="3495677"/>
            <a:ext cx="3753557" cy="191113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2" name="Image 6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9954000" y="1511768"/>
            <a:ext cx="1839600" cy="191259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1" name="Image 5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046677" y="1511768"/>
            <a:ext cx="1839600" cy="191259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3" name="Image 4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3884" y="1511768"/>
            <a:ext cx="1841010" cy="92006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4" name="Image 3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2502" y="1511768"/>
            <a:ext cx="1839600" cy="92006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8" name="Image 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308466" y="1511768"/>
            <a:ext cx="1842252" cy="191259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2</a:t>
            </a:r>
          </a:p>
        </p:txBody>
      </p:sp>
      <p:sp>
        <p:nvSpPr>
          <p:cNvPr id="87" name="Image 1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396885" y="1511768"/>
            <a:ext cx="1838802" cy="191259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1</a:t>
            </a:r>
          </a:p>
        </p:txBody>
      </p:sp>
      <p:sp>
        <p:nvSpPr>
          <p:cNvPr id="84" name="Slide title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397600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</p:spTree>
    <p:extLst>
      <p:ext uri="{BB962C8B-B14F-4D97-AF65-F5344CB8AC3E}">
        <p14:creationId xmlns:p14="http://schemas.microsoft.com/office/powerpoint/2010/main" val="3662325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with 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Image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4619700"/>
            <a:ext cx="6062917" cy="2239123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9" name="Image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175" y="4619700"/>
            <a:ext cx="2995459" cy="22383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8" name="Image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175" y="1155600"/>
            <a:ext cx="2995717" cy="33921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6" name="Image 2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9203151" y="-824"/>
            <a:ext cx="2995201" cy="685882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7" name="Image 1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35175" y="0"/>
            <a:ext cx="2995717" cy="10836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11" name="Text"/>
          <p:cNvSpPr>
            <a:spLocks noGrp="1"/>
          </p:cNvSpPr>
          <p:nvPr>
            <p:ph type="body" sz="quarter" idx="20" hasCustomPrompt="1"/>
          </p:nvPr>
        </p:nvSpPr>
        <p:spPr>
          <a:xfrm>
            <a:off x="395289" y="1512000"/>
            <a:ext cx="5508000" cy="29493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0" name="Slide title"/>
          <p:cNvSpPr>
            <a:spLocks noGrp="1"/>
          </p:cNvSpPr>
          <p:nvPr>
            <p:ph type="title" hasCustomPrompt="1"/>
          </p:nvPr>
        </p:nvSpPr>
        <p:spPr>
          <a:xfrm>
            <a:off x="395290" y="368300"/>
            <a:ext cx="5508000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</a:t>
            </a:r>
          </a:p>
        </p:txBody>
      </p:sp>
    </p:spTree>
    <p:extLst>
      <p:ext uri="{BB962C8B-B14F-4D97-AF65-F5344CB8AC3E}">
        <p14:creationId xmlns:p14="http://schemas.microsoft.com/office/powerpoint/2010/main" val="3426237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Multipictu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Image 7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203151" y="4619700"/>
            <a:ext cx="2995199" cy="22383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2" name="Image 6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35951" y="5774400"/>
            <a:ext cx="2994942" cy="10836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5" name="Image 5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203151" y="1155600"/>
            <a:ext cx="2995199" cy="33921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3" name="Image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951" y="2309400"/>
            <a:ext cx="2994942" cy="33930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1" name="Image 3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9203151" y="0"/>
            <a:ext cx="2995201" cy="10836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4" name="Image 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951" y="0"/>
            <a:ext cx="2994684" cy="22383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0" name="Image 1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8" name="Slide title"/>
          <p:cNvSpPr>
            <a:spLocks noGrp="1"/>
          </p:cNvSpPr>
          <p:nvPr>
            <p:ph type="title" hasCustomPrompt="1"/>
          </p:nvPr>
        </p:nvSpPr>
        <p:spPr bwMode="auto">
          <a:xfrm>
            <a:off x="395289" y="368300"/>
            <a:ext cx="11397600" cy="1016000"/>
          </a:xfrm>
          <a:noFill/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</p:spTree>
    <p:extLst>
      <p:ext uri="{BB962C8B-B14F-4D97-AF65-F5344CB8AC3E}">
        <p14:creationId xmlns:p14="http://schemas.microsoft.com/office/powerpoint/2010/main" val="8554627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Image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3200" cy="68580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3" name="Slide title"/>
          <p:cNvSpPr>
            <a:spLocks noGrp="1"/>
          </p:cNvSpPr>
          <p:nvPr>
            <p:ph type="title" hasCustomPrompt="1"/>
          </p:nvPr>
        </p:nvSpPr>
        <p:spPr bwMode="auto">
          <a:xfrm>
            <a:off x="395289" y="368300"/>
            <a:ext cx="11397600" cy="1016000"/>
          </a:xfrm>
          <a:noFill/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Headline on two lines in Corpo A Title Condensed 36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</p:spTree>
    <p:extLst>
      <p:ext uri="{BB962C8B-B14F-4D97-AF65-F5344CB8AC3E}">
        <p14:creationId xmlns:p14="http://schemas.microsoft.com/office/powerpoint/2010/main" val="35397777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 descr="Ein Bild, das Schwarzweiß, Muster enthält.&#10;&#10;Automatisch generierte Beschreibung">
            <a:extLst>
              <a:ext uri="{FF2B5EF4-FFF2-40B4-BE49-F238E27FC236}">
                <a16:creationId xmlns:a16="http://schemas.microsoft.com/office/drawing/2014/main" id="{153C6343-D01F-2B2E-CAF9-0EF2686546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2191999" cy="6858000"/>
          </a:xfrm>
          <a:prstGeom prst="rect">
            <a:avLst/>
          </a:prstGeom>
        </p:spPr>
      </p:pic>
      <p:sp>
        <p:nvSpPr>
          <p:cNvPr id="3" name="TextBox 6">
            <a:extLst>
              <a:ext uri="{FF2B5EF4-FFF2-40B4-BE49-F238E27FC236}">
                <a16:creationId xmlns:a16="http://schemas.microsoft.com/office/drawing/2014/main" id="{B59ACBA4-A18D-0EEF-E2C8-26A336FBB95B}"/>
              </a:ext>
            </a:extLst>
          </p:cNvPr>
          <p:cNvSpPr txBox="1"/>
          <p:nvPr userDrawn="1"/>
        </p:nvSpPr>
        <p:spPr>
          <a:xfrm>
            <a:off x="407368" y="4967175"/>
            <a:ext cx="9433048" cy="8612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4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99" dirty="0">
                <a:solidFill>
                  <a:schemeClr val="tx1"/>
                </a:solidFill>
                <a:latin typeface="+mn-lt"/>
              </a:rPr>
              <a:t>Mercedes-Benz Tech Innovation GmbH</a:t>
            </a:r>
            <a:br>
              <a:rPr lang="de-DE" sz="1399" dirty="0">
                <a:solidFill>
                  <a:schemeClr val="tx1"/>
                </a:solidFill>
                <a:latin typeface="+mn-lt"/>
              </a:rPr>
            </a:br>
            <a:r>
              <a:rPr lang="de-DE" sz="1399" noProof="0" dirty="0">
                <a:solidFill>
                  <a:schemeClr val="tx1"/>
                </a:solidFill>
                <a:latin typeface="+mn-lt"/>
              </a:rPr>
              <a:t>Wilhelm-Runge-Straße 11</a:t>
            </a:r>
            <a:r>
              <a:rPr lang="en-US" sz="1399" dirty="0">
                <a:solidFill>
                  <a:schemeClr val="tx1"/>
                </a:solidFill>
                <a:latin typeface="+mn-lt"/>
              </a:rPr>
              <a:t>, </a:t>
            </a:r>
            <a:r>
              <a:rPr lang="en-US" sz="1399" noProof="1">
                <a:solidFill>
                  <a:schemeClr val="tx1"/>
                </a:solidFill>
                <a:latin typeface="+mn-lt"/>
              </a:rPr>
              <a:t>89081 Ulm</a:t>
            </a:r>
          </a:p>
          <a:p>
            <a:pPr marL="0" marR="0" lvl="0" indent="0" algn="l" defTabSz="10884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99" noProof="1">
                <a:solidFill>
                  <a:schemeClr val="tx1"/>
                </a:solidFill>
                <a:latin typeface="+mn-lt"/>
              </a:rPr>
              <a:t>Telefon</a:t>
            </a:r>
            <a:r>
              <a:rPr lang="en-US" sz="1399" baseline="0" noProof="1">
                <a:solidFill>
                  <a:schemeClr val="tx1"/>
                </a:solidFill>
                <a:latin typeface="+mn-lt"/>
              </a:rPr>
              <a:t> </a:t>
            </a:r>
            <a:r>
              <a:rPr lang="en-US" sz="1399" dirty="0">
                <a:solidFill>
                  <a:schemeClr val="tx1"/>
                </a:solidFill>
                <a:latin typeface="+mn-lt"/>
              </a:rPr>
              <a:t>+49 </a:t>
            </a:r>
            <a:r>
              <a:rPr lang="de-DE" sz="1400" dirty="0">
                <a:solidFill>
                  <a:schemeClr val="tx1"/>
                </a:solidFill>
              </a:rPr>
              <a:t>731 151 721 10 </a:t>
            </a:r>
            <a:r>
              <a:rPr lang="en-US" sz="1399" dirty="0">
                <a:solidFill>
                  <a:schemeClr val="tx1"/>
                </a:solidFill>
                <a:latin typeface="+mn-lt"/>
              </a:rPr>
              <a:t>| </a:t>
            </a:r>
            <a:r>
              <a:rPr lang="en-US" sz="1399" noProof="1">
                <a:solidFill>
                  <a:schemeClr val="tx1"/>
                </a:solidFill>
                <a:latin typeface="+mn-lt"/>
              </a:rPr>
              <a:t>techinnovation@mercedes-benz.com | www.mercedes-benz-techinnovation.com</a:t>
            </a:r>
            <a:br>
              <a:rPr lang="de-DE" sz="1399" noProof="1">
                <a:solidFill>
                  <a:schemeClr val="tx1"/>
                </a:solidFill>
                <a:latin typeface="+mn-lt"/>
              </a:rPr>
            </a:br>
            <a:r>
              <a:rPr lang="de-DE" sz="1399" dirty="0">
                <a:solidFill>
                  <a:schemeClr val="tx1"/>
                </a:solidFill>
                <a:latin typeface="+mn-lt"/>
              </a:rPr>
              <a:t>Sitz und Registergericht: Ulm | HRB-Nr.: 3844 | Geschäftsführung: </a:t>
            </a:r>
            <a:r>
              <a:rPr lang="de-DE" sz="1399" noProof="0" dirty="0">
                <a:solidFill>
                  <a:schemeClr val="tx1"/>
                </a:solidFill>
                <a:latin typeface="+mn-lt"/>
              </a:rPr>
              <a:t>Daniel Geisel (Vorsitzender), Christine </a:t>
            </a:r>
            <a:r>
              <a:rPr lang="de-DE" sz="1399" noProof="0" dirty="0" err="1">
                <a:solidFill>
                  <a:schemeClr val="tx1"/>
                </a:solidFill>
                <a:latin typeface="+mn-lt"/>
              </a:rPr>
              <a:t>Luckert</a:t>
            </a:r>
            <a:endParaRPr lang="de-DE" sz="1399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982CD77-1C25-30B9-070F-5999FC8AA46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900" y="5877272"/>
            <a:ext cx="3168352" cy="692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0249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// Image left">
    <p:bg bwMode="black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 with Mercedes star and word mark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33" y="0"/>
            <a:ext cx="12193521" cy="6857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Image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-1"/>
            <a:ext cx="7463399" cy="68580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endParaRPr lang="en-US" noProof="0" dirty="0"/>
          </a:p>
          <a:p>
            <a:endParaRPr lang="en-US" noProof="0" dirty="0"/>
          </a:p>
          <a:p>
            <a:endParaRPr lang="en-US" noProof="0" dirty="0"/>
          </a:p>
          <a:p>
            <a:endParaRPr lang="en-US" noProof="0" dirty="0"/>
          </a:p>
          <a:p>
            <a:endParaRPr lang="en-US" noProof="0" dirty="0"/>
          </a:p>
          <a:p>
            <a:endParaRPr lang="en-US" noProof="0" dirty="0"/>
          </a:p>
          <a:p>
            <a:endParaRPr lang="en-US" noProof="0" dirty="0"/>
          </a:p>
          <a:p>
            <a:endParaRPr lang="en-US" noProof="0" dirty="0"/>
          </a:p>
          <a:p>
            <a:endParaRPr lang="en-US" noProof="0" dirty="0"/>
          </a:p>
          <a:p>
            <a:r>
              <a:rPr lang="en-US" noProof="0" dirty="0"/>
              <a:t>Insert image</a:t>
            </a:r>
          </a:p>
        </p:txBody>
      </p:sp>
      <p:sp>
        <p:nvSpPr>
          <p:cNvPr id="9" name="Additional text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8074799" y="2382180"/>
            <a:ext cx="3713976" cy="674687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600"/>
            </a:lvl1pPr>
          </a:lstStyle>
          <a:p>
            <a:pPr lvl="0"/>
            <a:r>
              <a:rPr lang="en-US" noProof="0" dirty="0"/>
              <a:t>Additional text for presentation 16 pt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10" name="Title"/>
          <p:cNvSpPr>
            <a:spLocks noGrp="1"/>
          </p:cNvSpPr>
          <p:nvPr>
            <p:ph type="ctrTitle" hasCustomPrompt="1"/>
          </p:nvPr>
        </p:nvSpPr>
        <p:spPr bwMode="white">
          <a:xfrm>
            <a:off x="8075613" y="1138422"/>
            <a:ext cx="3713162" cy="1222563"/>
          </a:xfrm>
        </p:spPr>
        <p:txBody>
          <a:bodyPr/>
          <a:lstStyle>
            <a:lvl1pPr>
              <a:lnSpc>
                <a:spcPct val="100000"/>
              </a:lnSpc>
              <a:defRPr sz="3600"/>
            </a:lvl1pPr>
          </a:lstStyle>
          <a:p>
            <a:r>
              <a:rPr lang="en-US" noProof="0" dirty="0"/>
              <a:t>Presentation title in 36 pt on two lines.</a:t>
            </a:r>
          </a:p>
        </p:txBody>
      </p:sp>
      <p:pic>
        <p:nvPicPr>
          <p:cNvPr id="2" name="Wortmarke Mercedes-Benz" descr="Y:\KiA\OV\PLATIS\JOB 1508-002_PPT_Mercedes_Benz_2010\allMaterial\1508-005_Material + Briefing\Material\MZ-Assets\MB-word-mark_p_3Coffice.emf">
            <a:extLst>
              <a:ext uri="{FF2B5EF4-FFF2-40B4-BE49-F238E27FC236}">
                <a16:creationId xmlns:a16="http://schemas.microsoft.com/office/drawing/2014/main" id="{A39A634C-124E-C75B-CE94-9343E893B62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8057865" y="6148680"/>
            <a:ext cx="1475338" cy="185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1F861950-1C93-6032-32DD-568C17D9048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3558" y="226291"/>
            <a:ext cx="1949116" cy="670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30999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5087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//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3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5" name="Content"/>
          <p:cNvSpPr>
            <a:spLocks noGrp="1"/>
          </p:cNvSpPr>
          <p:nvPr>
            <p:ph sz="quarter" idx="14" hasCustomPrompt="1"/>
          </p:nvPr>
        </p:nvSpPr>
        <p:spPr>
          <a:xfrm>
            <a:off x="395287" y="1511301"/>
            <a:ext cx="113976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10" name="Slide title"/>
          <p:cNvSpPr>
            <a:spLocks noGrp="1"/>
          </p:cNvSpPr>
          <p:nvPr>
            <p:ph type="title" hasCustomPrompt="1"/>
          </p:nvPr>
        </p:nvSpPr>
        <p:spPr>
          <a:xfrm>
            <a:off x="395290" y="368300"/>
            <a:ext cx="11397600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</p:spTree>
    <p:extLst>
      <p:ext uri="{BB962C8B-B14F-4D97-AF65-F5344CB8AC3E}">
        <p14:creationId xmlns:p14="http://schemas.microsoft.com/office/powerpoint/2010/main" val="13386062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//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7">
            <a:extLst>
              <a:ext uri="{FF2B5EF4-FFF2-40B4-BE49-F238E27FC236}">
                <a16:creationId xmlns:a16="http://schemas.microsoft.com/office/drawing/2014/main" id="{4D32E0DB-2953-2121-1D77-1CBF68E18038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810063" y="2381"/>
            <a:ext cx="5393331" cy="6894594"/>
          </a:xfrm>
          <a:custGeom>
            <a:avLst/>
            <a:gdLst>
              <a:gd name="connsiteX0" fmla="*/ 0 w 5058716"/>
              <a:gd name="connsiteY0" fmla="*/ 2668006 h 5336011"/>
              <a:gd name="connsiteX1" fmla="*/ 2529358 w 5058716"/>
              <a:gd name="connsiteY1" fmla="*/ 0 h 5336011"/>
              <a:gd name="connsiteX2" fmla="*/ 5058716 w 5058716"/>
              <a:gd name="connsiteY2" fmla="*/ 2668006 h 5336011"/>
              <a:gd name="connsiteX3" fmla="*/ 2529358 w 5058716"/>
              <a:gd name="connsiteY3" fmla="*/ 5336011 h 5336011"/>
              <a:gd name="connsiteX4" fmla="*/ 0 w 5058716"/>
              <a:gd name="connsiteY4" fmla="*/ 2668006 h 5336011"/>
              <a:gd name="connsiteX0" fmla="*/ 0 w 5058716"/>
              <a:gd name="connsiteY0" fmla="*/ 2651073 h 5319078"/>
              <a:gd name="connsiteX1" fmla="*/ 319558 w 5058716"/>
              <a:gd name="connsiteY1" fmla="*/ 0 h 5319078"/>
              <a:gd name="connsiteX2" fmla="*/ 5058716 w 5058716"/>
              <a:gd name="connsiteY2" fmla="*/ 2651073 h 5319078"/>
              <a:gd name="connsiteX3" fmla="*/ 2529358 w 5058716"/>
              <a:gd name="connsiteY3" fmla="*/ 5319078 h 5319078"/>
              <a:gd name="connsiteX4" fmla="*/ 0 w 5058716"/>
              <a:gd name="connsiteY4" fmla="*/ 2651073 h 5319078"/>
              <a:gd name="connsiteX0" fmla="*/ 0 w 5075649"/>
              <a:gd name="connsiteY0" fmla="*/ 5131806 h 5319078"/>
              <a:gd name="connsiteX1" fmla="*/ 336491 w 5075649"/>
              <a:gd name="connsiteY1" fmla="*/ 0 h 5319078"/>
              <a:gd name="connsiteX2" fmla="*/ 5075649 w 5075649"/>
              <a:gd name="connsiteY2" fmla="*/ 2651073 h 5319078"/>
              <a:gd name="connsiteX3" fmla="*/ 2546291 w 5075649"/>
              <a:gd name="connsiteY3" fmla="*/ 5319078 h 5319078"/>
              <a:gd name="connsiteX4" fmla="*/ 0 w 5075649"/>
              <a:gd name="connsiteY4" fmla="*/ 5131806 h 5319078"/>
              <a:gd name="connsiteX0" fmla="*/ 0 w 4931716"/>
              <a:gd name="connsiteY0" fmla="*/ 5131806 h 5319078"/>
              <a:gd name="connsiteX1" fmla="*/ 336491 w 4931716"/>
              <a:gd name="connsiteY1" fmla="*/ 0 h 5319078"/>
              <a:gd name="connsiteX2" fmla="*/ 4931716 w 4931716"/>
              <a:gd name="connsiteY2" fmla="*/ 1006 h 5319078"/>
              <a:gd name="connsiteX3" fmla="*/ 2546291 w 4931716"/>
              <a:gd name="connsiteY3" fmla="*/ 5319078 h 5319078"/>
              <a:gd name="connsiteX4" fmla="*/ 0 w 4931716"/>
              <a:gd name="connsiteY4" fmla="*/ 5131806 h 5319078"/>
              <a:gd name="connsiteX0" fmla="*/ 0 w 4931716"/>
              <a:gd name="connsiteY0" fmla="*/ 5131806 h 5149745"/>
              <a:gd name="connsiteX1" fmla="*/ 336491 w 4931716"/>
              <a:gd name="connsiteY1" fmla="*/ 0 h 5149745"/>
              <a:gd name="connsiteX2" fmla="*/ 4931716 w 4931716"/>
              <a:gd name="connsiteY2" fmla="*/ 1006 h 5149745"/>
              <a:gd name="connsiteX3" fmla="*/ 4916958 w 4931716"/>
              <a:gd name="connsiteY3" fmla="*/ 5149745 h 5149745"/>
              <a:gd name="connsiteX4" fmla="*/ 0 w 4931716"/>
              <a:gd name="connsiteY4" fmla="*/ 5131806 h 5149745"/>
              <a:gd name="connsiteX0" fmla="*/ 264643 w 4595225"/>
              <a:gd name="connsiteY0" fmla="*/ 4852406 h 5149745"/>
              <a:gd name="connsiteX1" fmla="*/ 0 w 4595225"/>
              <a:gd name="connsiteY1" fmla="*/ 0 h 5149745"/>
              <a:gd name="connsiteX2" fmla="*/ 4595225 w 4595225"/>
              <a:gd name="connsiteY2" fmla="*/ 1006 h 5149745"/>
              <a:gd name="connsiteX3" fmla="*/ 4580467 w 4595225"/>
              <a:gd name="connsiteY3" fmla="*/ 5149745 h 5149745"/>
              <a:gd name="connsiteX4" fmla="*/ 264643 w 4595225"/>
              <a:gd name="connsiteY4" fmla="*/ 4852406 h 5149745"/>
              <a:gd name="connsiteX0" fmla="*/ 0 w 4830115"/>
              <a:gd name="connsiteY0" fmla="*/ 5140273 h 5149745"/>
              <a:gd name="connsiteX1" fmla="*/ 234890 w 4830115"/>
              <a:gd name="connsiteY1" fmla="*/ 0 h 5149745"/>
              <a:gd name="connsiteX2" fmla="*/ 4830115 w 4830115"/>
              <a:gd name="connsiteY2" fmla="*/ 1006 h 5149745"/>
              <a:gd name="connsiteX3" fmla="*/ 4815357 w 4830115"/>
              <a:gd name="connsiteY3" fmla="*/ 5149745 h 5149745"/>
              <a:gd name="connsiteX4" fmla="*/ 0 w 4830115"/>
              <a:gd name="connsiteY4" fmla="*/ 5140273 h 5149745"/>
              <a:gd name="connsiteX0" fmla="*/ 0 w 4931715"/>
              <a:gd name="connsiteY0" fmla="*/ 5157206 h 5157206"/>
              <a:gd name="connsiteX1" fmla="*/ 336490 w 4931715"/>
              <a:gd name="connsiteY1" fmla="*/ 0 h 5157206"/>
              <a:gd name="connsiteX2" fmla="*/ 4931715 w 4931715"/>
              <a:gd name="connsiteY2" fmla="*/ 1006 h 5157206"/>
              <a:gd name="connsiteX3" fmla="*/ 4916957 w 4931715"/>
              <a:gd name="connsiteY3" fmla="*/ 5149745 h 5157206"/>
              <a:gd name="connsiteX4" fmla="*/ 0 w 4931715"/>
              <a:gd name="connsiteY4" fmla="*/ 5157206 h 5157206"/>
              <a:gd name="connsiteX0" fmla="*/ 0 w 4940182"/>
              <a:gd name="connsiteY0" fmla="*/ 5131806 h 5149745"/>
              <a:gd name="connsiteX1" fmla="*/ 344957 w 4940182"/>
              <a:gd name="connsiteY1" fmla="*/ 0 h 5149745"/>
              <a:gd name="connsiteX2" fmla="*/ 4940182 w 4940182"/>
              <a:gd name="connsiteY2" fmla="*/ 1006 h 5149745"/>
              <a:gd name="connsiteX3" fmla="*/ 4925424 w 4940182"/>
              <a:gd name="connsiteY3" fmla="*/ 5149745 h 5149745"/>
              <a:gd name="connsiteX4" fmla="*/ 0 w 4940182"/>
              <a:gd name="connsiteY4" fmla="*/ 5131806 h 5149745"/>
              <a:gd name="connsiteX0" fmla="*/ 0 w 4940182"/>
              <a:gd name="connsiteY0" fmla="*/ 5140272 h 5149745"/>
              <a:gd name="connsiteX1" fmla="*/ 344957 w 4940182"/>
              <a:gd name="connsiteY1" fmla="*/ 0 h 5149745"/>
              <a:gd name="connsiteX2" fmla="*/ 4940182 w 4940182"/>
              <a:gd name="connsiteY2" fmla="*/ 1006 h 5149745"/>
              <a:gd name="connsiteX3" fmla="*/ 4925424 w 4940182"/>
              <a:gd name="connsiteY3" fmla="*/ 5149745 h 5149745"/>
              <a:gd name="connsiteX4" fmla="*/ 0 w 4940182"/>
              <a:gd name="connsiteY4" fmla="*/ 5140272 h 5149745"/>
              <a:gd name="connsiteX0" fmla="*/ 0 w 4943565"/>
              <a:gd name="connsiteY0" fmla="*/ 5140272 h 5166678"/>
              <a:gd name="connsiteX1" fmla="*/ 344957 w 4943565"/>
              <a:gd name="connsiteY1" fmla="*/ 0 h 5166678"/>
              <a:gd name="connsiteX2" fmla="*/ 4940182 w 4943565"/>
              <a:gd name="connsiteY2" fmla="*/ 1006 h 5166678"/>
              <a:gd name="connsiteX3" fmla="*/ 4942357 w 4943565"/>
              <a:gd name="connsiteY3" fmla="*/ 5166678 h 5166678"/>
              <a:gd name="connsiteX4" fmla="*/ 0 w 4943565"/>
              <a:gd name="connsiteY4" fmla="*/ 5140272 h 5166678"/>
              <a:gd name="connsiteX0" fmla="*/ 0 w 4940182"/>
              <a:gd name="connsiteY0" fmla="*/ 51402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40272 h 5166678"/>
              <a:gd name="connsiteX0" fmla="*/ 0 w 4940182"/>
              <a:gd name="connsiteY0" fmla="*/ 51402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40272 h 5166678"/>
              <a:gd name="connsiteX0" fmla="*/ 0 w 4940182"/>
              <a:gd name="connsiteY0" fmla="*/ 51529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52972 h 5166678"/>
              <a:gd name="connsiteX0" fmla="*/ 0 w 4940182"/>
              <a:gd name="connsiteY0" fmla="*/ 51529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52972 h 5166678"/>
              <a:gd name="connsiteX0" fmla="*/ 0 w 4944933"/>
              <a:gd name="connsiteY0" fmla="*/ 5172090 h 5172090"/>
              <a:gd name="connsiteX1" fmla="*/ 349708 w 4944933"/>
              <a:gd name="connsiteY1" fmla="*/ 0 h 5172090"/>
              <a:gd name="connsiteX2" fmla="*/ 4944933 w 4944933"/>
              <a:gd name="connsiteY2" fmla="*/ 1006 h 5172090"/>
              <a:gd name="connsiteX3" fmla="*/ 4938641 w 4944933"/>
              <a:gd name="connsiteY3" fmla="*/ 5166678 h 5172090"/>
              <a:gd name="connsiteX4" fmla="*/ 0 w 4944933"/>
              <a:gd name="connsiteY4" fmla="*/ 5172090 h 5172090"/>
              <a:gd name="connsiteX0" fmla="*/ 0 w 4953761"/>
              <a:gd name="connsiteY0" fmla="*/ 5172090 h 5176237"/>
              <a:gd name="connsiteX1" fmla="*/ 349708 w 4953761"/>
              <a:gd name="connsiteY1" fmla="*/ 0 h 5176237"/>
              <a:gd name="connsiteX2" fmla="*/ 4944933 w 4953761"/>
              <a:gd name="connsiteY2" fmla="*/ 1006 h 5176237"/>
              <a:gd name="connsiteX3" fmla="*/ 4952893 w 4953761"/>
              <a:gd name="connsiteY3" fmla="*/ 5176237 h 5176237"/>
              <a:gd name="connsiteX4" fmla="*/ 0 w 4953761"/>
              <a:gd name="connsiteY4" fmla="*/ 5172090 h 5176237"/>
              <a:gd name="connsiteX0" fmla="*/ 0 w 4959185"/>
              <a:gd name="connsiteY0" fmla="*/ 5172090 h 5176237"/>
              <a:gd name="connsiteX1" fmla="*/ 349708 w 4959185"/>
              <a:gd name="connsiteY1" fmla="*/ 0 h 5176237"/>
              <a:gd name="connsiteX2" fmla="*/ 4959185 w 4959185"/>
              <a:gd name="connsiteY2" fmla="*/ 1006 h 5176237"/>
              <a:gd name="connsiteX3" fmla="*/ 4952893 w 4959185"/>
              <a:gd name="connsiteY3" fmla="*/ 5176237 h 5176237"/>
              <a:gd name="connsiteX4" fmla="*/ 0 w 4959185"/>
              <a:gd name="connsiteY4" fmla="*/ 5172090 h 51762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9185" h="5176237">
                <a:moveTo>
                  <a:pt x="0" y="5172090"/>
                </a:moveTo>
                <a:lnTo>
                  <a:pt x="349708" y="0"/>
                </a:lnTo>
                <a:lnTo>
                  <a:pt x="4959185" y="1006"/>
                </a:lnTo>
                <a:cubicBezTo>
                  <a:pt x="4954266" y="1717252"/>
                  <a:pt x="4957812" y="3459991"/>
                  <a:pt x="4952893" y="5176237"/>
                </a:cubicBezTo>
                <a:lnTo>
                  <a:pt x="0" y="517209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lIns="0" tIns="0" rIns="0" bIns="0"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2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3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5" name="Content"/>
          <p:cNvSpPr>
            <a:spLocks noGrp="1"/>
          </p:cNvSpPr>
          <p:nvPr>
            <p:ph sz="quarter" idx="14" hasCustomPrompt="1"/>
          </p:nvPr>
        </p:nvSpPr>
        <p:spPr>
          <a:xfrm>
            <a:off x="395287" y="1511301"/>
            <a:ext cx="6414776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10" name="Slide title"/>
          <p:cNvSpPr>
            <a:spLocks noGrp="1"/>
          </p:cNvSpPr>
          <p:nvPr>
            <p:ph type="title" hasCustomPrompt="1"/>
          </p:nvPr>
        </p:nvSpPr>
        <p:spPr>
          <a:xfrm>
            <a:off x="395290" y="368300"/>
            <a:ext cx="6414776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</a:p>
        </p:txBody>
      </p:sp>
    </p:spTree>
    <p:extLst>
      <p:ext uri="{BB962C8B-B14F-4D97-AF65-F5344CB8AC3E}">
        <p14:creationId xmlns:p14="http://schemas.microsoft.com/office/powerpoint/2010/main" val="11799834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 //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3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5" name="Content"/>
          <p:cNvSpPr>
            <a:spLocks noGrp="1"/>
          </p:cNvSpPr>
          <p:nvPr>
            <p:ph sz="quarter" idx="14" hasCustomPrompt="1"/>
          </p:nvPr>
        </p:nvSpPr>
        <p:spPr>
          <a:xfrm>
            <a:off x="395290" y="4815159"/>
            <a:ext cx="6414776" cy="161104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US" noProof="0" dirty="0"/>
          </a:p>
        </p:txBody>
      </p:sp>
      <p:sp>
        <p:nvSpPr>
          <p:cNvPr id="10" name="Slide title"/>
          <p:cNvSpPr>
            <a:spLocks noGrp="1"/>
          </p:cNvSpPr>
          <p:nvPr>
            <p:ph type="title" hasCustomPrompt="1"/>
          </p:nvPr>
        </p:nvSpPr>
        <p:spPr>
          <a:xfrm>
            <a:off x="395290" y="3554799"/>
            <a:ext cx="6414776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798D0F7-C2E9-A32F-AB6F-AE0134B58076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0" y="-3175"/>
            <a:ext cx="3228975" cy="3102234"/>
          </a:xfrm>
          <a:prstGeom prst="parallelogram">
            <a:avLst>
              <a:gd name="adj" fmla="val 7353"/>
            </a:avLst>
          </a:prstGeom>
          <a:solidFill>
            <a:schemeClr val="accent5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8" name="Bildplatzhalter 8">
            <a:extLst>
              <a:ext uri="{FF2B5EF4-FFF2-40B4-BE49-F238E27FC236}">
                <a16:creationId xmlns:a16="http://schemas.microsoft.com/office/drawing/2014/main" id="{7DAF2ACC-E5F6-0B68-4661-26BBA6EEE279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2987675" y="-3175"/>
            <a:ext cx="3228975" cy="3102234"/>
          </a:xfrm>
          <a:prstGeom prst="parallelogram">
            <a:avLst>
              <a:gd name="adj" fmla="val 7353"/>
            </a:avLst>
          </a:prstGeom>
          <a:solidFill>
            <a:schemeClr val="accent5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9" name="Bildplatzhalter 8">
            <a:extLst>
              <a:ext uri="{FF2B5EF4-FFF2-40B4-BE49-F238E27FC236}">
                <a16:creationId xmlns:a16="http://schemas.microsoft.com/office/drawing/2014/main" id="{518C5F27-0129-2448-CD9F-C43B037CF015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975350" y="-3175"/>
            <a:ext cx="3228975" cy="3102234"/>
          </a:xfrm>
          <a:prstGeom prst="parallelogram">
            <a:avLst>
              <a:gd name="adj" fmla="val 7353"/>
            </a:avLst>
          </a:prstGeom>
          <a:solidFill>
            <a:schemeClr val="accent5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0" name="Bildplatzhalter 8">
            <a:extLst>
              <a:ext uri="{FF2B5EF4-FFF2-40B4-BE49-F238E27FC236}">
                <a16:creationId xmlns:a16="http://schemas.microsoft.com/office/drawing/2014/main" id="{1B006F2A-4B34-EF5C-E70F-CDA290DD17CC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8963025" y="-3175"/>
            <a:ext cx="3228975" cy="3102234"/>
          </a:xfrm>
          <a:prstGeom prst="parallelogram">
            <a:avLst>
              <a:gd name="adj" fmla="val 7353"/>
            </a:avLst>
          </a:prstGeom>
          <a:solidFill>
            <a:schemeClr val="accent5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3380474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 //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3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5" name="Content"/>
          <p:cNvSpPr>
            <a:spLocks noGrp="1"/>
          </p:cNvSpPr>
          <p:nvPr>
            <p:ph sz="quarter" idx="14" hasCustomPrompt="1"/>
          </p:nvPr>
        </p:nvSpPr>
        <p:spPr>
          <a:xfrm>
            <a:off x="395290" y="4316923"/>
            <a:ext cx="5740927" cy="210927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US" noProof="0" dirty="0"/>
          </a:p>
        </p:txBody>
      </p:sp>
      <p:sp>
        <p:nvSpPr>
          <p:cNvPr id="10" name="Slide title"/>
          <p:cNvSpPr>
            <a:spLocks noGrp="1"/>
          </p:cNvSpPr>
          <p:nvPr>
            <p:ph type="title" hasCustomPrompt="1"/>
          </p:nvPr>
        </p:nvSpPr>
        <p:spPr>
          <a:xfrm>
            <a:off x="395289" y="3554799"/>
            <a:ext cx="11599975" cy="510125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in Corpo A Title Condensed 36 pt. 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798D0F7-C2E9-A32F-AB6F-AE0134B58076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-241300" y="-3175"/>
            <a:ext cx="3228975" cy="3102234"/>
          </a:xfrm>
          <a:prstGeom prst="parallelogram">
            <a:avLst>
              <a:gd name="adj" fmla="val 7353"/>
            </a:avLst>
          </a:prstGeom>
          <a:solidFill>
            <a:schemeClr val="accent5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8" name="Bildplatzhalter 8">
            <a:extLst>
              <a:ext uri="{FF2B5EF4-FFF2-40B4-BE49-F238E27FC236}">
                <a16:creationId xmlns:a16="http://schemas.microsoft.com/office/drawing/2014/main" id="{7DAF2ACC-E5F6-0B68-4661-26BBA6EEE279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2907242" y="-3175"/>
            <a:ext cx="3228975" cy="3102234"/>
          </a:xfrm>
          <a:prstGeom prst="parallelogram">
            <a:avLst>
              <a:gd name="adj" fmla="val 7353"/>
            </a:avLst>
          </a:prstGeom>
          <a:solidFill>
            <a:schemeClr val="accent5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9" name="Bildplatzhalter 8">
            <a:extLst>
              <a:ext uri="{FF2B5EF4-FFF2-40B4-BE49-F238E27FC236}">
                <a16:creationId xmlns:a16="http://schemas.microsoft.com/office/drawing/2014/main" id="{518C5F27-0129-2448-CD9F-C43B037CF015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6055784" y="-3175"/>
            <a:ext cx="3228975" cy="3102234"/>
          </a:xfrm>
          <a:prstGeom prst="parallelogram">
            <a:avLst>
              <a:gd name="adj" fmla="val 7353"/>
            </a:avLst>
          </a:prstGeom>
          <a:solidFill>
            <a:schemeClr val="accent5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0" name="Bildplatzhalter 8">
            <a:extLst>
              <a:ext uri="{FF2B5EF4-FFF2-40B4-BE49-F238E27FC236}">
                <a16:creationId xmlns:a16="http://schemas.microsoft.com/office/drawing/2014/main" id="{1B006F2A-4B34-EF5C-E70F-CDA290DD17CC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9204325" y="-3175"/>
            <a:ext cx="3228975" cy="3102234"/>
          </a:xfrm>
          <a:prstGeom prst="parallelogram">
            <a:avLst>
              <a:gd name="adj" fmla="val 7353"/>
            </a:avLst>
          </a:prstGeom>
          <a:solidFill>
            <a:schemeClr val="accent5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1283453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//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7">
            <a:extLst>
              <a:ext uri="{FF2B5EF4-FFF2-40B4-BE49-F238E27FC236}">
                <a16:creationId xmlns:a16="http://schemas.microsoft.com/office/drawing/2014/main" id="{4D32E0DB-2953-2121-1D77-1CBF68E18038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 bwMode="black">
          <a:xfrm>
            <a:off x="4261596" y="-30146"/>
            <a:ext cx="7977945" cy="6913129"/>
          </a:xfrm>
          <a:custGeom>
            <a:avLst/>
            <a:gdLst>
              <a:gd name="connsiteX0" fmla="*/ 0 w 5058716"/>
              <a:gd name="connsiteY0" fmla="*/ 2668006 h 5336011"/>
              <a:gd name="connsiteX1" fmla="*/ 2529358 w 5058716"/>
              <a:gd name="connsiteY1" fmla="*/ 0 h 5336011"/>
              <a:gd name="connsiteX2" fmla="*/ 5058716 w 5058716"/>
              <a:gd name="connsiteY2" fmla="*/ 2668006 h 5336011"/>
              <a:gd name="connsiteX3" fmla="*/ 2529358 w 5058716"/>
              <a:gd name="connsiteY3" fmla="*/ 5336011 h 5336011"/>
              <a:gd name="connsiteX4" fmla="*/ 0 w 5058716"/>
              <a:gd name="connsiteY4" fmla="*/ 2668006 h 5336011"/>
              <a:gd name="connsiteX0" fmla="*/ 0 w 5058716"/>
              <a:gd name="connsiteY0" fmla="*/ 2651073 h 5319078"/>
              <a:gd name="connsiteX1" fmla="*/ 319558 w 5058716"/>
              <a:gd name="connsiteY1" fmla="*/ 0 h 5319078"/>
              <a:gd name="connsiteX2" fmla="*/ 5058716 w 5058716"/>
              <a:gd name="connsiteY2" fmla="*/ 2651073 h 5319078"/>
              <a:gd name="connsiteX3" fmla="*/ 2529358 w 5058716"/>
              <a:gd name="connsiteY3" fmla="*/ 5319078 h 5319078"/>
              <a:gd name="connsiteX4" fmla="*/ 0 w 5058716"/>
              <a:gd name="connsiteY4" fmla="*/ 2651073 h 5319078"/>
              <a:gd name="connsiteX0" fmla="*/ 0 w 5075649"/>
              <a:gd name="connsiteY0" fmla="*/ 5131806 h 5319078"/>
              <a:gd name="connsiteX1" fmla="*/ 336491 w 5075649"/>
              <a:gd name="connsiteY1" fmla="*/ 0 h 5319078"/>
              <a:gd name="connsiteX2" fmla="*/ 5075649 w 5075649"/>
              <a:gd name="connsiteY2" fmla="*/ 2651073 h 5319078"/>
              <a:gd name="connsiteX3" fmla="*/ 2546291 w 5075649"/>
              <a:gd name="connsiteY3" fmla="*/ 5319078 h 5319078"/>
              <a:gd name="connsiteX4" fmla="*/ 0 w 5075649"/>
              <a:gd name="connsiteY4" fmla="*/ 5131806 h 5319078"/>
              <a:gd name="connsiteX0" fmla="*/ 0 w 4931716"/>
              <a:gd name="connsiteY0" fmla="*/ 5131806 h 5319078"/>
              <a:gd name="connsiteX1" fmla="*/ 336491 w 4931716"/>
              <a:gd name="connsiteY1" fmla="*/ 0 h 5319078"/>
              <a:gd name="connsiteX2" fmla="*/ 4931716 w 4931716"/>
              <a:gd name="connsiteY2" fmla="*/ 1006 h 5319078"/>
              <a:gd name="connsiteX3" fmla="*/ 2546291 w 4931716"/>
              <a:gd name="connsiteY3" fmla="*/ 5319078 h 5319078"/>
              <a:gd name="connsiteX4" fmla="*/ 0 w 4931716"/>
              <a:gd name="connsiteY4" fmla="*/ 5131806 h 5319078"/>
              <a:gd name="connsiteX0" fmla="*/ 0 w 4931716"/>
              <a:gd name="connsiteY0" fmla="*/ 5131806 h 5149745"/>
              <a:gd name="connsiteX1" fmla="*/ 336491 w 4931716"/>
              <a:gd name="connsiteY1" fmla="*/ 0 h 5149745"/>
              <a:gd name="connsiteX2" fmla="*/ 4931716 w 4931716"/>
              <a:gd name="connsiteY2" fmla="*/ 1006 h 5149745"/>
              <a:gd name="connsiteX3" fmla="*/ 4916958 w 4931716"/>
              <a:gd name="connsiteY3" fmla="*/ 5149745 h 5149745"/>
              <a:gd name="connsiteX4" fmla="*/ 0 w 4931716"/>
              <a:gd name="connsiteY4" fmla="*/ 5131806 h 5149745"/>
              <a:gd name="connsiteX0" fmla="*/ 264643 w 4595225"/>
              <a:gd name="connsiteY0" fmla="*/ 4852406 h 5149745"/>
              <a:gd name="connsiteX1" fmla="*/ 0 w 4595225"/>
              <a:gd name="connsiteY1" fmla="*/ 0 h 5149745"/>
              <a:gd name="connsiteX2" fmla="*/ 4595225 w 4595225"/>
              <a:gd name="connsiteY2" fmla="*/ 1006 h 5149745"/>
              <a:gd name="connsiteX3" fmla="*/ 4580467 w 4595225"/>
              <a:gd name="connsiteY3" fmla="*/ 5149745 h 5149745"/>
              <a:gd name="connsiteX4" fmla="*/ 264643 w 4595225"/>
              <a:gd name="connsiteY4" fmla="*/ 4852406 h 5149745"/>
              <a:gd name="connsiteX0" fmla="*/ 0 w 4830115"/>
              <a:gd name="connsiteY0" fmla="*/ 5140273 h 5149745"/>
              <a:gd name="connsiteX1" fmla="*/ 234890 w 4830115"/>
              <a:gd name="connsiteY1" fmla="*/ 0 h 5149745"/>
              <a:gd name="connsiteX2" fmla="*/ 4830115 w 4830115"/>
              <a:gd name="connsiteY2" fmla="*/ 1006 h 5149745"/>
              <a:gd name="connsiteX3" fmla="*/ 4815357 w 4830115"/>
              <a:gd name="connsiteY3" fmla="*/ 5149745 h 5149745"/>
              <a:gd name="connsiteX4" fmla="*/ 0 w 4830115"/>
              <a:gd name="connsiteY4" fmla="*/ 5140273 h 5149745"/>
              <a:gd name="connsiteX0" fmla="*/ 0 w 4931715"/>
              <a:gd name="connsiteY0" fmla="*/ 5157206 h 5157206"/>
              <a:gd name="connsiteX1" fmla="*/ 336490 w 4931715"/>
              <a:gd name="connsiteY1" fmla="*/ 0 h 5157206"/>
              <a:gd name="connsiteX2" fmla="*/ 4931715 w 4931715"/>
              <a:gd name="connsiteY2" fmla="*/ 1006 h 5157206"/>
              <a:gd name="connsiteX3" fmla="*/ 4916957 w 4931715"/>
              <a:gd name="connsiteY3" fmla="*/ 5149745 h 5157206"/>
              <a:gd name="connsiteX4" fmla="*/ 0 w 4931715"/>
              <a:gd name="connsiteY4" fmla="*/ 5157206 h 5157206"/>
              <a:gd name="connsiteX0" fmla="*/ 0 w 4940182"/>
              <a:gd name="connsiteY0" fmla="*/ 5131806 h 5149745"/>
              <a:gd name="connsiteX1" fmla="*/ 344957 w 4940182"/>
              <a:gd name="connsiteY1" fmla="*/ 0 h 5149745"/>
              <a:gd name="connsiteX2" fmla="*/ 4940182 w 4940182"/>
              <a:gd name="connsiteY2" fmla="*/ 1006 h 5149745"/>
              <a:gd name="connsiteX3" fmla="*/ 4925424 w 4940182"/>
              <a:gd name="connsiteY3" fmla="*/ 5149745 h 5149745"/>
              <a:gd name="connsiteX4" fmla="*/ 0 w 4940182"/>
              <a:gd name="connsiteY4" fmla="*/ 5131806 h 5149745"/>
              <a:gd name="connsiteX0" fmla="*/ 0 w 4940182"/>
              <a:gd name="connsiteY0" fmla="*/ 5140272 h 5149745"/>
              <a:gd name="connsiteX1" fmla="*/ 344957 w 4940182"/>
              <a:gd name="connsiteY1" fmla="*/ 0 h 5149745"/>
              <a:gd name="connsiteX2" fmla="*/ 4940182 w 4940182"/>
              <a:gd name="connsiteY2" fmla="*/ 1006 h 5149745"/>
              <a:gd name="connsiteX3" fmla="*/ 4925424 w 4940182"/>
              <a:gd name="connsiteY3" fmla="*/ 5149745 h 5149745"/>
              <a:gd name="connsiteX4" fmla="*/ 0 w 4940182"/>
              <a:gd name="connsiteY4" fmla="*/ 5140272 h 5149745"/>
              <a:gd name="connsiteX0" fmla="*/ 0 w 4943565"/>
              <a:gd name="connsiteY0" fmla="*/ 5140272 h 5166678"/>
              <a:gd name="connsiteX1" fmla="*/ 344957 w 4943565"/>
              <a:gd name="connsiteY1" fmla="*/ 0 h 5166678"/>
              <a:gd name="connsiteX2" fmla="*/ 4940182 w 4943565"/>
              <a:gd name="connsiteY2" fmla="*/ 1006 h 5166678"/>
              <a:gd name="connsiteX3" fmla="*/ 4942357 w 4943565"/>
              <a:gd name="connsiteY3" fmla="*/ 5166678 h 5166678"/>
              <a:gd name="connsiteX4" fmla="*/ 0 w 4943565"/>
              <a:gd name="connsiteY4" fmla="*/ 5140272 h 5166678"/>
              <a:gd name="connsiteX0" fmla="*/ 0 w 4940182"/>
              <a:gd name="connsiteY0" fmla="*/ 51402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40272 h 5166678"/>
              <a:gd name="connsiteX0" fmla="*/ 0 w 4940182"/>
              <a:gd name="connsiteY0" fmla="*/ 51402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40272 h 5166678"/>
              <a:gd name="connsiteX0" fmla="*/ 0 w 4940182"/>
              <a:gd name="connsiteY0" fmla="*/ 51529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52972 h 5166678"/>
              <a:gd name="connsiteX0" fmla="*/ 0 w 4940182"/>
              <a:gd name="connsiteY0" fmla="*/ 51529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52972 h 5166678"/>
              <a:gd name="connsiteX0" fmla="*/ 0 w 4944933"/>
              <a:gd name="connsiteY0" fmla="*/ 5172090 h 5172090"/>
              <a:gd name="connsiteX1" fmla="*/ 349708 w 4944933"/>
              <a:gd name="connsiteY1" fmla="*/ 0 h 5172090"/>
              <a:gd name="connsiteX2" fmla="*/ 4944933 w 4944933"/>
              <a:gd name="connsiteY2" fmla="*/ 1006 h 5172090"/>
              <a:gd name="connsiteX3" fmla="*/ 4938641 w 4944933"/>
              <a:gd name="connsiteY3" fmla="*/ 5166678 h 5172090"/>
              <a:gd name="connsiteX4" fmla="*/ 0 w 4944933"/>
              <a:gd name="connsiteY4" fmla="*/ 5172090 h 5172090"/>
              <a:gd name="connsiteX0" fmla="*/ 0 w 4953761"/>
              <a:gd name="connsiteY0" fmla="*/ 5172090 h 5176237"/>
              <a:gd name="connsiteX1" fmla="*/ 349708 w 4953761"/>
              <a:gd name="connsiteY1" fmla="*/ 0 h 5176237"/>
              <a:gd name="connsiteX2" fmla="*/ 4944933 w 4953761"/>
              <a:gd name="connsiteY2" fmla="*/ 1006 h 5176237"/>
              <a:gd name="connsiteX3" fmla="*/ 4952893 w 4953761"/>
              <a:gd name="connsiteY3" fmla="*/ 5176237 h 5176237"/>
              <a:gd name="connsiteX4" fmla="*/ 0 w 4953761"/>
              <a:gd name="connsiteY4" fmla="*/ 5172090 h 5176237"/>
              <a:gd name="connsiteX0" fmla="*/ 0 w 4959185"/>
              <a:gd name="connsiteY0" fmla="*/ 5172090 h 5176237"/>
              <a:gd name="connsiteX1" fmla="*/ 349708 w 4959185"/>
              <a:gd name="connsiteY1" fmla="*/ 0 h 5176237"/>
              <a:gd name="connsiteX2" fmla="*/ 4959185 w 4959185"/>
              <a:gd name="connsiteY2" fmla="*/ 1006 h 5176237"/>
              <a:gd name="connsiteX3" fmla="*/ 4952893 w 4959185"/>
              <a:gd name="connsiteY3" fmla="*/ 5176237 h 5176237"/>
              <a:gd name="connsiteX4" fmla="*/ 0 w 4959185"/>
              <a:gd name="connsiteY4" fmla="*/ 5172090 h 5176237"/>
              <a:gd name="connsiteX0" fmla="*/ 0 w 7318078"/>
              <a:gd name="connsiteY0" fmla="*/ 5190153 h 5194300"/>
              <a:gd name="connsiteX1" fmla="*/ 349708 w 7318078"/>
              <a:gd name="connsiteY1" fmla="*/ 18063 h 5194300"/>
              <a:gd name="connsiteX2" fmla="*/ 7318078 w 7318078"/>
              <a:gd name="connsiteY2" fmla="*/ 0 h 5194300"/>
              <a:gd name="connsiteX3" fmla="*/ 4952893 w 7318078"/>
              <a:gd name="connsiteY3" fmla="*/ 5194300 h 5194300"/>
              <a:gd name="connsiteX4" fmla="*/ 0 w 7318078"/>
              <a:gd name="connsiteY4" fmla="*/ 5190153 h 5194300"/>
              <a:gd name="connsiteX0" fmla="*/ 0 w 7335745"/>
              <a:gd name="connsiteY0" fmla="*/ 5190153 h 5190153"/>
              <a:gd name="connsiteX1" fmla="*/ 349708 w 7335745"/>
              <a:gd name="connsiteY1" fmla="*/ 18063 h 5190153"/>
              <a:gd name="connsiteX2" fmla="*/ 7318078 w 7335745"/>
              <a:gd name="connsiteY2" fmla="*/ 0 h 5190153"/>
              <a:gd name="connsiteX3" fmla="*/ 7335142 w 7335745"/>
              <a:gd name="connsiteY3" fmla="*/ 5187943 h 5190153"/>
              <a:gd name="connsiteX4" fmla="*/ 0 w 7335745"/>
              <a:gd name="connsiteY4" fmla="*/ 5190153 h 51901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35745" h="5190153">
                <a:moveTo>
                  <a:pt x="0" y="5190153"/>
                </a:moveTo>
                <a:lnTo>
                  <a:pt x="349708" y="18063"/>
                </a:lnTo>
                <a:lnTo>
                  <a:pt x="7318078" y="0"/>
                </a:lnTo>
                <a:cubicBezTo>
                  <a:pt x="7313159" y="1716246"/>
                  <a:pt x="7340061" y="3471697"/>
                  <a:pt x="7335142" y="5187943"/>
                </a:cubicBezTo>
                <a:lnTo>
                  <a:pt x="0" y="5190153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lIns="0" tIns="0" rIns="0" bIns="0"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2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3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5" name="Content"/>
          <p:cNvSpPr>
            <a:spLocks noGrp="1"/>
          </p:cNvSpPr>
          <p:nvPr>
            <p:ph sz="quarter" idx="14" hasCustomPrompt="1"/>
          </p:nvPr>
        </p:nvSpPr>
        <p:spPr>
          <a:xfrm>
            <a:off x="395287" y="1511301"/>
            <a:ext cx="405818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10" name="Slide title"/>
          <p:cNvSpPr>
            <a:spLocks noGrp="1"/>
          </p:cNvSpPr>
          <p:nvPr>
            <p:ph type="title" hasCustomPrompt="1"/>
          </p:nvPr>
        </p:nvSpPr>
        <p:spPr>
          <a:xfrm>
            <a:off x="395290" y="368300"/>
            <a:ext cx="4058180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 36 pt. </a:t>
            </a:r>
          </a:p>
        </p:txBody>
      </p:sp>
    </p:spTree>
    <p:extLst>
      <p:ext uri="{BB962C8B-B14F-4D97-AF65-F5344CB8AC3E}">
        <p14:creationId xmlns:p14="http://schemas.microsoft.com/office/powerpoint/2010/main" val="20569228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//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26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20" name="Table caption"/>
          <p:cNvSpPr>
            <a:spLocks noGrp="1"/>
          </p:cNvSpPr>
          <p:nvPr>
            <p:ph type="body" sz="quarter" idx="22" hasCustomPrompt="1"/>
          </p:nvPr>
        </p:nvSpPr>
        <p:spPr>
          <a:xfrm>
            <a:off x="396000" y="5327650"/>
            <a:ext cx="11397600" cy="1098551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600" baseline="0"/>
            </a:lvl1pPr>
            <a:lvl2pPr marL="285750" indent="-285750"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2pPr>
            <a:lvl3pPr marL="285750" indent="-285750"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3pPr>
            <a:lvl4pPr marL="285750" indent="-285750">
              <a:spcAft>
                <a:spcPts val="0"/>
              </a:spcAft>
              <a:buFont typeface="Arial" panose="020B0604020202020204" pitchFamily="34" charset="0"/>
              <a:buChar char="•"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17" name="Table placeholder"/>
          <p:cNvSpPr>
            <a:spLocks noGrp="1"/>
          </p:cNvSpPr>
          <p:nvPr>
            <p:ph type="tbl" sz="quarter" idx="20" hasCustomPrompt="1"/>
          </p:nvPr>
        </p:nvSpPr>
        <p:spPr bwMode="ltGray">
          <a:xfrm>
            <a:off x="396000" y="2484000"/>
            <a:ext cx="11397600" cy="2700000"/>
          </a:xfrm>
          <a:solidFill>
            <a:schemeClr val="accent5"/>
          </a:solidFill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table</a:t>
            </a:r>
          </a:p>
        </p:txBody>
      </p:sp>
      <p:sp>
        <p:nvSpPr>
          <p:cNvPr id="19" name="Table header"/>
          <p:cNvSpPr>
            <a:spLocks noGrp="1"/>
          </p:cNvSpPr>
          <p:nvPr>
            <p:ph type="body" sz="quarter" idx="21" hasCustomPrompt="1"/>
          </p:nvPr>
        </p:nvSpPr>
        <p:spPr>
          <a:xfrm>
            <a:off x="396000" y="1957137"/>
            <a:ext cx="11397600" cy="274864"/>
          </a:xfrm>
        </p:spPr>
        <p:txBody>
          <a:bodyPr/>
          <a:lstStyle>
            <a:lvl1pPr>
              <a:spcAft>
                <a:spcPts val="0"/>
              </a:spcAft>
              <a:defRPr b="1" baseline="0">
                <a:latin typeface="MB Corpo S Text Office" panose="020B0504050000000004" pitchFamily="34" charset="0"/>
              </a:defRPr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  <a:lvl6pPr marL="0" indent="0">
              <a:spcAft>
                <a:spcPts val="0"/>
              </a:spcAft>
              <a:buNone/>
              <a:defRPr sz="2000" b="1"/>
            </a:lvl6pPr>
            <a:lvl7pPr marL="0" indent="0">
              <a:spcAft>
                <a:spcPts val="0"/>
              </a:spcAft>
              <a:buNone/>
              <a:defRPr sz="2000" b="1"/>
            </a:lvl7pPr>
            <a:lvl8pPr marL="0" indent="0">
              <a:spcAft>
                <a:spcPts val="0"/>
              </a:spcAft>
              <a:buNone/>
              <a:defRPr sz="2000" b="1"/>
            </a:lvl8pPr>
            <a:lvl9pPr marL="0" indent="0">
              <a:spcAft>
                <a:spcPts val="0"/>
              </a:spcAft>
              <a:buNone/>
              <a:defRPr sz="2000" b="1"/>
            </a:lvl9pPr>
          </a:lstStyle>
          <a:p>
            <a:pPr lvl="0"/>
            <a:r>
              <a:rPr lang="en-US" noProof="0" dirty="0"/>
              <a:t>Insert table heading in Corpo S Text Bold in 20 pt. </a:t>
            </a:r>
          </a:p>
        </p:txBody>
      </p:sp>
      <p:sp>
        <p:nvSpPr>
          <p:cNvPr id="10" name="Slide title"/>
          <p:cNvSpPr>
            <a:spLocks noGrp="1"/>
          </p:cNvSpPr>
          <p:nvPr>
            <p:ph type="title" hasCustomPrompt="1"/>
          </p:nvPr>
        </p:nvSpPr>
        <p:spPr>
          <a:xfrm>
            <a:off x="395290" y="368300"/>
            <a:ext cx="11397600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</p:spTree>
    <p:extLst>
      <p:ext uri="{BB962C8B-B14F-4D97-AF65-F5344CB8AC3E}">
        <p14:creationId xmlns:p14="http://schemas.microsoft.com/office/powerpoint/2010/main" val="39786449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59" name="Footer"/>
          <p:cNvSpPr>
            <a:spLocks noGrp="1" noRot="1" noMove="1" noResize="1" noEditPoints="1" noAdjustHandles="1" noChangeArrowheads="1" noChangeShapeType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8" name="Placeholder other markers"/>
          <p:cNvSpPr txBox="1">
            <a:spLocks/>
          </p:cNvSpPr>
          <p:nvPr userDrawn="1"/>
        </p:nvSpPr>
        <p:spPr>
          <a:xfrm>
            <a:off x="6966059" y="2381"/>
            <a:ext cx="936000" cy="306000"/>
          </a:xfrm>
          <a:prstGeom prst="rect">
            <a:avLst/>
          </a:prstGeom>
        </p:spPr>
        <p:txBody>
          <a:bodyPr/>
          <a:lstStyle>
            <a:lvl1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i="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                      </a:t>
            </a:r>
          </a:p>
        </p:txBody>
      </p:sp>
      <p:sp>
        <p:nvSpPr>
          <p:cNvPr id="20" name="Placeholder classification"/>
          <p:cNvSpPr txBox="1">
            <a:spLocks/>
          </p:cNvSpPr>
          <p:nvPr userDrawn="1"/>
        </p:nvSpPr>
        <p:spPr>
          <a:xfrm>
            <a:off x="9921659" y="2381"/>
            <a:ext cx="1872000" cy="306000"/>
          </a:xfrm>
          <a:prstGeom prst="rect">
            <a:avLst/>
          </a:prstGeom>
        </p:spPr>
        <p:txBody>
          <a:bodyPr/>
          <a:lstStyle>
            <a:lvl1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i="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                             </a:t>
            </a:r>
          </a:p>
        </p:txBody>
      </p:sp>
      <p:sp>
        <p:nvSpPr>
          <p:cNvPr id="19" name="Placeholder confidentiality"/>
          <p:cNvSpPr txBox="1">
            <a:spLocks/>
          </p:cNvSpPr>
          <p:nvPr userDrawn="1"/>
        </p:nvSpPr>
        <p:spPr>
          <a:xfrm>
            <a:off x="7977659" y="2381"/>
            <a:ext cx="1872000" cy="306000"/>
          </a:xfrm>
          <a:prstGeom prst="rect">
            <a:avLst/>
          </a:prstGeom>
        </p:spPr>
        <p:txBody>
          <a:bodyPr/>
          <a:lstStyle>
            <a:lvl1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i="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                    </a:t>
            </a:r>
          </a:p>
        </p:txBody>
      </p:sp>
      <p:sp>
        <p:nvSpPr>
          <p:cNvPr id="57" name="Content"/>
          <p:cNvSpPr>
            <a:spLocks noGrp="1"/>
          </p:cNvSpPr>
          <p:nvPr>
            <p:ph type="body" idx="1"/>
          </p:nvPr>
        </p:nvSpPr>
        <p:spPr bwMode="black">
          <a:xfrm>
            <a:off x="395288" y="1511300"/>
            <a:ext cx="11396662" cy="49148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52" name="Title"/>
          <p:cNvSpPr>
            <a:spLocks noGrp="1"/>
          </p:cNvSpPr>
          <p:nvPr>
            <p:ph type="title"/>
          </p:nvPr>
        </p:nvSpPr>
        <p:spPr bwMode="black">
          <a:xfrm>
            <a:off x="395290" y="368300"/>
            <a:ext cx="11396660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Headline on two lines in Corpo A Title Condensed 36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</p:spTree>
    <p:extLst>
      <p:ext uri="{BB962C8B-B14F-4D97-AF65-F5344CB8AC3E}">
        <p14:creationId xmlns:p14="http://schemas.microsoft.com/office/powerpoint/2010/main" val="20393468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  <p:sldLayoutId id="2147483878" r:id="rId2"/>
    <p:sldLayoutId id="2147483879" r:id="rId3"/>
    <p:sldLayoutId id="2147483881" r:id="rId4"/>
    <p:sldLayoutId id="2147483819" r:id="rId5"/>
    <p:sldLayoutId id="2147483925" r:id="rId6"/>
    <p:sldLayoutId id="2147483926" r:id="rId7"/>
    <p:sldLayoutId id="2147483924" r:id="rId8"/>
    <p:sldLayoutId id="2147483886" r:id="rId9"/>
    <p:sldLayoutId id="2147483892" r:id="rId10"/>
    <p:sldLayoutId id="2147483894" r:id="rId11"/>
    <p:sldLayoutId id="2147483896" r:id="rId12"/>
    <p:sldLayoutId id="2147483927" r:id="rId13"/>
    <p:sldLayoutId id="2147483898" r:id="rId14"/>
    <p:sldLayoutId id="2147483899" r:id="rId15"/>
    <p:sldLayoutId id="2147483901" r:id="rId16"/>
    <p:sldLayoutId id="2147483921" r:id="rId17"/>
    <p:sldLayoutId id="2147483904" r:id="rId18"/>
    <p:sldLayoutId id="2147483906" r:id="rId19"/>
    <p:sldLayoutId id="2147483910" r:id="rId20"/>
    <p:sldLayoutId id="2147483911" r:id="rId21"/>
    <p:sldLayoutId id="2147483915" r:id="rId22"/>
    <p:sldLayoutId id="2147483917" r:id="rId23"/>
    <p:sldLayoutId id="2147483922" r:id="rId24"/>
    <p:sldLayoutId id="2147483920" r:id="rId25"/>
    <p:sldLayoutId id="2147483923" r:id="rId26"/>
  </p:sldLayoutIdLst>
  <p:hf hdr="0" dt="0"/>
  <p:txStyles>
    <p:titleStyle>
      <a:lvl1pPr marL="0" indent="0" algn="l" defTabSz="914271" rtl="0" eaLnBrk="1" latinLnBrk="0" hangingPunct="1">
        <a:spcBef>
          <a:spcPts val="0"/>
        </a:spcBef>
        <a:buFont typeface="+mj-lt"/>
        <a:buNone/>
        <a:defRPr sz="3600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+mj-lt"/>
        <a:buNone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341952" indent="-34195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738000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600" b="0" i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738000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738000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738000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738000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738000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5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71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06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42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78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14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49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85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48">
          <p15:clr>
            <a:srgbClr val="A4A3A4"/>
          </p15:clr>
        </p15:guide>
        <p15:guide id="2" pos="7430">
          <p15:clr>
            <a:srgbClr val="A4A3A4"/>
          </p15:clr>
        </p15:guide>
        <p15:guide id="3" orient="horz" pos="4049">
          <p15:clr>
            <a:srgbClr val="A4A3A4"/>
          </p15:clr>
        </p15:guide>
        <p15:guide id="4" orient="horz" pos="23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researchgate.net/publication/334555489_Demystifying_MVC_Architecture" TargetMode="External"/><Relationship Id="rId3" Type="http://schemas.openxmlformats.org/officeDocument/2006/relationships/notesSlide" Target="../notesSlides/notesSlide11.xml"/><Relationship Id="rId7" Type="http://schemas.openxmlformats.org/officeDocument/2006/relationships/hyperlink" Target="https://eudl.eu/doi/10.4108/eai.20-10-2020.2305151" TargetMode="Externa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6" Type="http://schemas.openxmlformats.org/officeDocument/2006/relationships/hyperlink" Target="https://doi.org/10.1109/GAS.2015.10" TargetMode="Externa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5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Relationship Id="rId6" Type="http://schemas.openxmlformats.org/officeDocument/2006/relationships/image" Target="../media/image12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Relationship Id="rId6" Type="http://schemas.openxmlformats.org/officeDocument/2006/relationships/image" Target="../media/image14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oliennummernplatzhalter 1">
            <a:extLst>
              <a:ext uri="{FF2B5EF4-FFF2-40B4-BE49-F238E27FC236}">
                <a16:creationId xmlns:a16="http://schemas.microsoft.com/office/drawing/2014/main" id="{863FE22F-2F6A-9F54-DD8C-0C96DF2DC9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1</a:t>
            </a:fld>
            <a:endParaRPr lang="en-US" noProof="0" dirty="0"/>
          </a:p>
        </p:txBody>
      </p:sp>
      <p:sp>
        <p:nvSpPr>
          <p:cNvPr id="33" name="Footer Placeholder 3">
            <a:extLst>
              <a:ext uri="{FF2B5EF4-FFF2-40B4-BE49-F238E27FC236}">
                <a16:creationId xmlns:a16="http://schemas.microsoft.com/office/drawing/2014/main" id="{3358250B-9D9C-45CC-734E-B8550B538A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25" name="Titel 3">
            <a:extLst>
              <a:ext uri="{FF2B5EF4-FFF2-40B4-BE49-F238E27FC236}">
                <a16:creationId xmlns:a16="http://schemas.microsoft.com/office/drawing/2014/main" id="{24861CF1-32C2-079B-A8F6-366415F47BAB}"/>
              </a:ext>
            </a:extLst>
          </p:cNvPr>
          <p:cNvSpPr txBox="1">
            <a:spLocks/>
          </p:cNvSpPr>
          <p:nvPr/>
        </p:nvSpPr>
        <p:spPr bwMode="black">
          <a:xfrm>
            <a:off x="387185" y="2922626"/>
            <a:ext cx="9396000" cy="10541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271" rtl="0" eaLnBrk="1" latinLnBrk="0" hangingPunct="1">
              <a:spcBef>
                <a:spcPts val="0"/>
              </a:spcBef>
              <a:buFont typeface="+mj-lt"/>
              <a:buNone/>
              <a:defRPr sz="3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Font typeface="Arial" panose="020B0604020202020204" pitchFamily="34" charset="0"/>
              <a:buNone/>
              <a:defRPr/>
            </a:pPr>
            <a:r>
              <a:rPr lang="en-US" dirty="0"/>
              <a:t>Das MVC-Pattern</a:t>
            </a:r>
            <a:br>
              <a:rPr lang="en-US" dirty="0"/>
            </a:br>
            <a:r>
              <a:rPr lang="de-DE" sz="1600" dirty="0">
                <a:solidFill>
                  <a:prstClr val="black"/>
                </a:solidFill>
                <a:latin typeface="MB Corpo S Text Office Light"/>
                <a:ea typeface="+mn-ea"/>
                <a:cs typeface="+mn-cs"/>
              </a:rPr>
              <a:t>Maximilian Bender von Säbelkampf </a:t>
            </a:r>
          </a:p>
          <a:p>
            <a:pPr>
              <a:buFont typeface="Arial" panose="020B0604020202020204" pitchFamily="34" charset="0"/>
              <a:buNone/>
              <a:defRPr/>
            </a:pPr>
            <a:r>
              <a:rPr lang="de-DE" sz="1600" dirty="0">
                <a:solidFill>
                  <a:prstClr val="black"/>
                </a:solidFill>
                <a:latin typeface="MB Corpo S Text Office Light"/>
                <a:ea typeface="+mn-ea"/>
                <a:cs typeface="+mn-cs"/>
              </a:rPr>
              <a:t>Kevin Basener</a:t>
            </a:r>
            <a:br>
              <a:rPr lang="de-DE" sz="1600" dirty="0">
                <a:solidFill>
                  <a:prstClr val="black"/>
                </a:solidFill>
                <a:latin typeface="MB Corpo S Text Office Light"/>
                <a:ea typeface="+mn-ea"/>
                <a:cs typeface="+mn-cs"/>
              </a:rPr>
            </a:br>
            <a:br>
              <a:rPr lang="de-DE" sz="1600" dirty="0">
                <a:solidFill>
                  <a:prstClr val="black"/>
                </a:solidFill>
                <a:latin typeface="MB Corpo S Text Office Light"/>
                <a:ea typeface="+mn-ea"/>
                <a:cs typeface="+mn-cs"/>
              </a:rPr>
            </a:br>
            <a:endParaRPr lang="de-DE" dirty="0"/>
          </a:p>
        </p:txBody>
      </p:sp>
      <p:pic>
        <p:nvPicPr>
          <p:cNvPr id="39" name="Bildplatzhalter 38" descr="Ein Bild, das draußen, Landschaft, Berg, Wolke enthält.&#10;&#10;Automatisch generierte Beschreibung">
            <a:extLst>
              <a:ext uri="{FF2B5EF4-FFF2-40B4-BE49-F238E27FC236}">
                <a16:creationId xmlns:a16="http://schemas.microsoft.com/office/drawing/2014/main" id="{50A29961-9A01-6AC6-238C-A63DCED178A8}"/>
              </a:ext>
            </a:extLst>
          </p:cNvPr>
          <p:cNvPicPr>
            <a:picLocks noGrp="1" noChangeAspect="1"/>
          </p:cNvPicPr>
          <p:nvPr>
            <p:ph type="pic" sz="quarter" idx="31"/>
          </p:nvPr>
        </p:nvPicPr>
        <p:blipFill>
          <a:blip r:embed="rId3"/>
          <a:srcRect t="7374" b="7374"/>
          <a:stretch>
            <a:fillRect/>
          </a:stretch>
        </p:blipFill>
        <p:spPr>
          <a:xfrm>
            <a:off x="5910943" y="2381"/>
            <a:ext cx="6292451" cy="6894594"/>
          </a:xfrm>
        </p:spPr>
      </p:pic>
    </p:spTree>
    <p:extLst>
      <p:ext uri="{BB962C8B-B14F-4D97-AF65-F5344CB8AC3E}">
        <p14:creationId xmlns:p14="http://schemas.microsoft.com/office/powerpoint/2010/main" val="366296061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kt 59" hidden="1">
            <a:extLst>
              <a:ext uri="{FF2B5EF4-FFF2-40B4-BE49-F238E27FC236}">
                <a16:creationId xmlns:a16="http://schemas.microsoft.com/office/drawing/2014/main" id="{F2CD6F9F-31D0-A6B6-E4B6-9435EB665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60" name="Objekt 59" hidden="1">
                        <a:extLst>
                          <a:ext uri="{FF2B5EF4-FFF2-40B4-BE49-F238E27FC236}">
                            <a16:creationId xmlns:a16="http://schemas.microsoft.com/office/drawing/2014/main" id="{F2CD6F9F-31D0-A6B6-E4B6-9435EB665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Rechteck 62">
            <a:extLst>
              <a:ext uri="{FF2B5EF4-FFF2-40B4-BE49-F238E27FC236}">
                <a16:creationId xmlns:a16="http://schemas.microsoft.com/office/drawing/2014/main" id="{ECFF2CD3-82D9-E6EE-9AD3-11720FC2F525}"/>
              </a:ext>
            </a:extLst>
          </p:cNvPr>
          <p:cNvSpPr/>
          <p:nvPr/>
        </p:nvSpPr>
        <p:spPr>
          <a:xfrm>
            <a:off x="3799543" y="1379212"/>
            <a:ext cx="1177882" cy="112929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Autofit/>
          </a:bodyPr>
          <a:lstStyle/>
          <a:p>
            <a:pPr algn="ctr"/>
            <a:r>
              <a:rPr lang="de-DE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Model</a:t>
            </a:r>
          </a:p>
          <a:p>
            <a:pPr algn="ctr"/>
            <a:r>
              <a:rPr lang="de-DE" sz="11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Logik</a:t>
            </a: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B4B56F44-4D7B-1BF6-CC08-863FCBBE7A87}"/>
              </a:ext>
            </a:extLst>
          </p:cNvPr>
          <p:cNvSpPr/>
          <p:nvPr/>
        </p:nvSpPr>
        <p:spPr>
          <a:xfrm>
            <a:off x="3799546" y="4870541"/>
            <a:ext cx="1177882" cy="112929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Autofit/>
          </a:bodyPr>
          <a:lstStyle/>
          <a:p>
            <a:pPr algn="ctr"/>
            <a:r>
              <a:rPr lang="de-DE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View</a:t>
            </a:r>
          </a:p>
          <a:p>
            <a:pPr algn="ctr"/>
            <a:r>
              <a:rPr lang="de-DE" sz="11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UI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D5B96493-EC5B-885B-8A75-85E441DF10D2}"/>
              </a:ext>
            </a:extLst>
          </p:cNvPr>
          <p:cNvSpPr/>
          <p:nvPr/>
        </p:nvSpPr>
        <p:spPr>
          <a:xfrm>
            <a:off x="3799545" y="3100058"/>
            <a:ext cx="1177882" cy="1129298"/>
          </a:xfrm>
          <a:prstGeom prst="rect">
            <a:avLst/>
          </a:prstGeom>
          <a:solidFill>
            <a:srgbClr val="B1C8E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Autofit/>
          </a:bodyPr>
          <a:lstStyle/>
          <a:p>
            <a:pPr algn="ctr"/>
            <a:r>
              <a:rPr lang="de-DE" sz="1600" b="1" dirty="0" err="1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ViewModel</a:t>
            </a:r>
            <a:endParaRPr lang="de-DE" sz="1600" b="1" dirty="0">
              <a:solidFill>
                <a:schemeClr val="tx1">
                  <a:lumMod val="95000"/>
                  <a:lumOff val="5000"/>
                </a:schemeClr>
              </a:solidFill>
              <a:latin typeface="+mj-lt"/>
            </a:endParaRPr>
          </a:p>
          <a:p>
            <a:pPr algn="ctr"/>
            <a:r>
              <a:rPr lang="de-DE" sz="11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Bindeglied</a:t>
            </a:r>
          </a:p>
        </p:txBody>
      </p:sp>
      <p:cxnSp>
        <p:nvCxnSpPr>
          <p:cNvPr id="78" name="Verbinder: gewinkelt 77">
            <a:extLst>
              <a:ext uri="{FF2B5EF4-FFF2-40B4-BE49-F238E27FC236}">
                <a16:creationId xmlns:a16="http://schemas.microsoft.com/office/drawing/2014/main" id="{9C1E2001-F070-AF6C-4DA5-3EFB160CDB35}"/>
              </a:ext>
            </a:extLst>
          </p:cNvPr>
          <p:cNvCxnSpPr>
            <a:cxnSpLocks/>
            <a:stCxn id="63" idx="2"/>
            <a:endCxn id="68" idx="0"/>
          </p:cNvCxnSpPr>
          <p:nvPr/>
        </p:nvCxnSpPr>
        <p:spPr>
          <a:xfrm rot="16200000" flipH="1">
            <a:off x="4092711" y="2804283"/>
            <a:ext cx="591548" cy="2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Verbinder: gewinkelt 78">
            <a:extLst>
              <a:ext uri="{FF2B5EF4-FFF2-40B4-BE49-F238E27FC236}">
                <a16:creationId xmlns:a16="http://schemas.microsoft.com/office/drawing/2014/main" id="{A22A4F18-04A9-A9EF-D970-ED3F3BF72C7A}"/>
              </a:ext>
            </a:extLst>
          </p:cNvPr>
          <p:cNvCxnSpPr>
            <a:cxnSpLocks/>
            <a:stCxn id="68" idx="2"/>
            <a:endCxn id="66" idx="0"/>
          </p:cNvCxnSpPr>
          <p:nvPr/>
        </p:nvCxnSpPr>
        <p:spPr>
          <a:xfrm rot="16200000" flipH="1">
            <a:off x="4067894" y="4549947"/>
            <a:ext cx="641185" cy="1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itle 6">
            <a:extLst>
              <a:ext uri="{FF2B5EF4-FFF2-40B4-BE49-F238E27FC236}">
                <a16:creationId xmlns:a16="http://schemas.microsoft.com/office/drawing/2014/main" id="{B25DEDFE-DF85-ABD6-8BB2-8780D5295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93" y="356533"/>
            <a:ext cx="6414776" cy="1008360"/>
          </a:xfrm>
        </p:spPr>
        <p:txBody>
          <a:bodyPr vert="horz"/>
          <a:lstStyle/>
          <a:p>
            <a:r>
              <a:rPr lang="en-US" dirty="0" err="1"/>
              <a:t>Verwandte</a:t>
            </a:r>
            <a:r>
              <a:rPr lang="en-US" dirty="0"/>
              <a:t> Pattern MV*</a:t>
            </a:r>
          </a:p>
        </p:txBody>
      </p:sp>
      <p:sp>
        <p:nvSpPr>
          <p:cNvPr id="105" name="Footer Placeholder 3">
            <a:extLst>
              <a:ext uri="{FF2B5EF4-FFF2-40B4-BE49-F238E27FC236}">
                <a16:creationId xmlns:a16="http://schemas.microsoft.com/office/drawing/2014/main" id="{62839FD8-2E39-E87C-B4A9-3164CC5D02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107" name="Foliennummernplatzhalter 1">
            <a:extLst>
              <a:ext uri="{FF2B5EF4-FFF2-40B4-BE49-F238E27FC236}">
                <a16:creationId xmlns:a16="http://schemas.microsoft.com/office/drawing/2014/main" id="{DD5D60EF-5182-5F12-3E3C-F8C9517222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10</a:t>
            </a:fld>
            <a:endParaRPr lang="en-US" noProof="0" dirty="0"/>
          </a:p>
        </p:txBody>
      </p:sp>
      <p:sp>
        <p:nvSpPr>
          <p:cNvPr id="108" name="Footer Placeholder 3">
            <a:extLst>
              <a:ext uri="{FF2B5EF4-FFF2-40B4-BE49-F238E27FC236}">
                <a16:creationId xmlns:a16="http://schemas.microsoft.com/office/drawing/2014/main" id="{3CBB712D-9DE8-1BC6-25AA-E7CD5FCBC8B9}"/>
              </a:ext>
            </a:extLst>
          </p:cNvPr>
          <p:cNvSpPr txBox="1">
            <a:spLocks/>
          </p:cNvSpPr>
          <p:nvPr/>
        </p:nvSpPr>
        <p:spPr bwMode="black">
          <a:xfrm>
            <a:off x="253965" y="6622012"/>
            <a:ext cx="3068899" cy="16597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marL="0" indent="0" algn="r" defTabSz="914271" rtl="0" eaLnBrk="1" latinLnBrk="0" hangingPunct="1">
              <a:spcBef>
                <a:spcPts val="0"/>
              </a:spcBef>
              <a:buFont typeface="+mj-lt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Aft>
                <a:spcPts val="600"/>
              </a:spcAft>
            </a:pPr>
            <a:r>
              <a:rPr lang="en-US" dirty="0" err="1"/>
              <a:t>Quellen</a:t>
            </a:r>
            <a:r>
              <a:rPr lang="en-US" dirty="0"/>
              <a:t>: [2], [5], [6]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1CAD455A-F532-FA81-E4B7-22F25D49B156}"/>
              </a:ext>
            </a:extLst>
          </p:cNvPr>
          <p:cNvSpPr/>
          <p:nvPr/>
        </p:nvSpPr>
        <p:spPr>
          <a:xfrm>
            <a:off x="7740172" y="1408518"/>
            <a:ext cx="1177882" cy="112929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Autofit/>
          </a:bodyPr>
          <a:lstStyle/>
          <a:p>
            <a:pPr algn="ctr"/>
            <a:r>
              <a:rPr lang="de-DE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Model</a:t>
            </a:r>
          </a:p>
          <a:p>
            <a:pPr algn="ctr"/>
            <a:r>
              <a:rPr lang="de-DE" sz="11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Logik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78049EC0-3B39-55AF-F6B1-DC460B7C03E4}"/>
              </a:ext>
            </a:extLst>
          </p:cNvPr>
          <p:cNvSpPr/>
          <p:nvPr/>
        </p:nvSpPr>
        <p:spPr>
          <a:xfrm>
            <a:off x="7740175" y="4899847"/>
            <a:ext cx="1177882" cy="112929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Autofit/>
          </a:bodyPr>
          <a:lstStyle/>
          <a:p>
            <a:pPr algn="ctr"/>
            <a:r>
              <a:rPr lang="de-DE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View</a:t>
            </a:r>
          </a:p>
          <a:p>
            <a:pPr algn="ctr"/>
            <a:r>
              <a:rPr lang="de-DE" sz="11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UI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98AA8347-10DD-CA7B-2681-895D1529A7EA}"/>
              </a:ext>
            </a:extLst>
          </p:cNvPr>
          <p:cNvSpPr/>
          <p:nvPr/>
        </p:nvSpPr>
        <p:spPr>
          <a:xfrm>
            <a:off x="7740174" y="3129364"/>
            <a:ext cx="1177882" cy="1129298"/>
          </a:xfrm>
          <a:prstGeom prst="rect">
            <a:avLst/>
          </a:prstGeom>
          <a:solidFill>
            <a:srgbClr val="B1C8E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Autofit/>
          </a:bodyPr>
          <a:lstStyle/>
          <a:p>
            <a:pPr algn="ctr"/>
            <a:r>
              <a:rPr lang="de-DE" sz="1600" b="1" dirty="0" err="1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Presenter</a:t>
            </a:r>
            <a:endParaRPr lang="de-DE" sz="1600" b="1" dirty="0">
              <a:solidFill>
                <a:schemeClr val="tx1">
                  <a:lumMod val="95000"/>
                  <a:lumOff val="5000"/>
                </a:schemeClr>
              </a:solidFill>
              <a:latin typeface="+mj-lt"/>
            </a:endParaRPr>
          </a:p>
          <a:p>
            <a:pPr algn="ctr"/>
            <a:r>
              <a:rPr lang="de-DE" sz="11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Vermittler</a:t>
            </a:r>
          </a:p>
        </p:txBody>
      </p:sp>
      <p:cxnSp>
        <p:nvCxnSpPr>
          <p:cNvPr id="16" name="Verbinder: gewinkelt 15">
            <a:extLst>
              <a:ext uri="{FF2B5EF4-FFF2-40B4-BE49-F238E27FC236}">
                <a16:creationId xmlns:a16="http://schemas.microsoft.com/office/drawing/2014/main" id="{01897F97-176E-5E1E-4C5E-164EA6DC2F4F}"/>
              </a:ext>
            </a:extLst>
          </p:cNvPr>
          <p:cNvCxnSpPr>
            <a:cxnSpLocks/>
            <a:stCxn id="13" idx="2"/>
            <a:endCxn id="15" idx="0"/>
          </p:cNvCxnSpPr>
          <p:nvPr/>
        </p:nvCxnSpPr>
        <p:spPr>
          <a:xfrm rot="16200000" flipH="1">
            <a:off x="8033340" y="2833589"/>
            <a:ext cx="591548" cy="2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Verbinder: gewinkelt 16">
            <a:extLst>
              <a:ext uri="{FF2B5EF4-FFF2-40B4-BE49-F238E27FC236}">
                <a16:creationId xmlns:a16="http://schemas.microsoft.com/office/drawing/2014/main" id="{89E9878D-C7C8-831B-DE2C-607BC4B4BFA9}"/>
              </a:ext>
            </a:extLst>
          </p:cNvPr>
          <p:cNvCxnSpPr>
            <a:cxnSpLocks/>
            <a:stCxn id="15" idx="2"/>
            <a:endCxn id="14" idx="0"/>
          </p:cNvCxnSpPr>
          <p:nvPr/>
        </p:nvCxnSpPr>
        <p:spPr>
          <a:xfrm rot="16200000" flipH="1">
            <a:off x="8008523" y="4579253"/>
            <a:ext cx="641185" cy="1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le 6">
            <a:extLst>
              <a:ext uri="{FF2B5EF4-FFF2-40B4-BE49-F238E27FC236}">
                <a16:creationId xmlns:a16="http://schemas.microsoft.com/office/drawing/2014/main" id="{D89F97B8-B7B2-1B00-4D29-B945BF7A6AF6}"/>
              </a:ext>
            </a:extLst>
          </p:cNvPr>
          <p:cNvSpPr txBox="1">
            <a:spLocks/>
          </p:cNvSpPr>
          <p:nvPr/>
        </p:nvSpPr>
        <p:spPr bwMode="black">
          <a:xfrm>
            <a:off x="2074601" y="1439681"/>
            <a:ext cx="1493192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271" rtl="0" eaLnBrk="1" latinLnBrk="0" hangingPunct="1">
              <a:spcBef>
                <a:spcPts val="0"/>
              </a:spcBef>
              <a:buFont typeface="+mj-lt"/>
              <a:buNone/>
              <a:defRPr sz="3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/>
              <a:t>MVVM</a:t>
            </a:r>
          </a:p>
        </p:txBody>
      </p:sp>
      <p:sp>
        <p:nvSpPr>
          <p:cNvPr id="19" name="Title 6">
            <a:extLst>
              <a:ext uri="{FF2B5EF4-FFF2-40B4-BE49-F238E27FC236}">
                <a16:creationId xmlns:a16="http://schemas.microsoft.com/office/drawing/2014/main" id="{9A21398F-EB64-2BA0-3EE7-3CD3A5FD61D7}"/>
              </a:ext>
            </a:extLst>
          </p:cNvPr>
          <p:cNvSpPr txBox="1">
            <a:spLocks/>
          </p:cNvSpPr>
          <p:nvPr/>
        </p:nvSpPr>
        <p:spPr bwMode="black">
          <a:xfrm>
            <a:off x="6532301" y="1439681"/>
            <a:ext cx="1093139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271" rtl="0" eaLnBrk="1" latinLnBrk="0" hangingPunct="1">
              <a:spcBef>
                <a:spcPts val="0"/>
              </a:spcBef>
              <a:buFont typeface="+mj-lt"/>
              <a:buNone/>
              <a:defRPr sz="3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/>
              <a:t>MPV</a:t>
            </a:r>
          </a:p>
        </p:txBody>
      </p:sp>
    </p:spTree>
    <p:extLst>
      <p:ext uri="{BB962C8B-B14F-4D97-AF65-F5344CB8AC3E}">
        <p14:creationId xmlns:p14="http://schemas.microsoft.com/office/powerpoint/2010/main" val="261000210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kt 59" hidden="1">
            <a:extLst>
              <a:ext uri="{FF2B5EF4-FFF2-40B4-BE49-F238E27FC236}">
                <a16:creationId xmlns:a16="http://schemas.microsoft.com/office/drawing/2014/main" id="{F2CD6F9F-31D0-A6B6-E4B6-9435EB665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60" name="Objekt 59" hidden="1">
                        <a:extLst>
                          <a:ext uri="{FF2B5EF4-FFF2-40B4-BE49-F238E27FC236}">
                            <a16:creationId xmlns:a16="http://schemas.microsoft.com/office/drawing/2014/main" id="{F2CD6F9F-31D0-A6B6-E4B6-9435EB665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Title 6">
            <a:extLst>
              <a:ext uri="{FF2B5EF4-FFF2-40B4-BE49-F238E27FC236}">
                <a16:creationId xmlns:a16="http://schemas.microsoft.com/office/drawing/2014/main" id="{B25DEDFE-DF85-ABD6-8BB2-8780D5295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90" y="368300"/>
            <a:ext cx="6414776" cy="1008360"/>
          </a:xfrm>
        </p:spPr>
        <p:txBody>
          <a:bodyPr vert="horz"/>
          <a:lstStyle/>
          <a:p>
            <a:r>
              <a:rPr lang="en-US" dirty="0" err="1"/>
              <a:t>Quellenverzeichnis</a:t>
            </a:r>
            <a:endParaRPr lang="en-US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13A3BA8C-1ABF-55E0-720D-F931D607984D}"/>
              </a:ext>
            </a:extLst>
          </p:cNvPr>
          <p:cNvSpPr txBox="1"/>
          <p:nvPr/>
        </p:nvSpPr>
        <p:spPr>
          <a:xfrm>
            <a:off x="395290" y="1350850"/>
            <a:ext cx="9393689" cy="36009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[1] T. Olsson, D. Toll, A. 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Wingkvist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und M. Ericsson, „Evolution and Evaluation 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of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theModel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-View-Controller Architecture in Games,“ in Proceedings 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of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the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2015 IEEE/ACM4th International Workshop on Games and Software Engineering, IEEE, 2015, S. 8–14.doi: 10.1109/GAS.2015.10. Adresse: 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  <a:hlinkClick r:id="rId6"/>
              </a:rPr>
              <a:t>https://doi.org/10.1109/GAS.2015.10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.</a:t>
            </a:r>
          </a:p>
          <a:p>
            <a:endParaRPr lang="de-DE" sz="1200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[2] D. S. 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Aihara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, „A Journey Through 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the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Land 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of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Model-View Design Patterns,“ 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Masterof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Science Thesis, 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Diss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., Universidad 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Politécnica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de Madrid und 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Blekinge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Institute 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ofTechnology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, 2012. Adresse: /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mnt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/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data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/a_journey_through_the_land_of_model_view_design_pattern.pdf.</a:t>
            </a:r>
          </a:p>
          <a:p>
            <a:endParaRPr lang="de-DE" sz="1200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[3] Anonymous, „Understanding MVC: A Study in Web 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Application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Development,“EUDL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(European Union Digital Library), 2020. Adresse: 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  <a:hlinkClick r:id="rId7"/>
              </a:rPr>
              <a:t>https://eudl.eu/doi/10.4108/eai.20-10-2020.2305151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.</a:t>
            </a:r>
          </a:p>
          <a:p>
            <a:endParaRPr lang="de-DE" sz="1200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[4] Anonymous, „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Demystifying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MVC Architecture,“ 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ResearchGate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, 2019. Adresse: 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  <a:hlinkClick r:id="rId8"/>
              </a:rPr>
              <a:t>https://www.researchgate.net/publication/334555489_Demystifying_MVC_Architecture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.</a:t>
            </a:r>
          </a:p>
          <a:p>
            <a:endParaRPr lang="de-DE" sz="1200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[5] M. R. J. 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Qureshi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und F. Sabir, „A COMPARISON OF MODEL VIEW CONTROL-LER AND MODEL VIEW PRESENTER,“ Journal 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of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Computing and 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InformationTechnology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, Jg. XX, Nr. YY, ZZ–ZZ, 2024.</a:t>
            </a:r>
          </a:p>
          <a:p>
            <a:endParaRPr lang="de-DE" sz="1200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[6] G. Arcos-Medina, J. Menéndez und J. Vallejo, „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Comparative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Study 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of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Performanceand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Productivity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of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MVC and MVVM design 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patterns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,“ in 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Simposio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Iberoamericano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enProgramación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Informática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(Ibero-American Symposium on Computer 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Programming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),Knowledge E, 2018, S. 241–252. 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doi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: 10.18502/keg.v1i2.1498. Adresse: https://doi.org/10.18502/keg.v1i2.1498.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771B537E-84EB-13AF-A616-1DA24C8907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10" name="Foliennummernplatzhalter 1">
            <a:extLst>
              <a:ext uri="{FF2B5EF4-FFF2-40B4-BE49-F238E27FC236}">
                <a16:creationId xmlns:a16="http://schemas.microsoft.com/office/drawing/2014/main" id="{9361AB2D-9380-A5E2-51EF-DCC56BB082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11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267944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platzhalter 9" descr="Ein Bild, das Wolke, draußen, Berg, Himmel enthält.&#10;&#10;Automatisch generierte Beschreibung">
            <a:extLst>
              <a:ext uri="{FF2B5EF4-FFF2-40B4-BE49-F238E27FC236}">
                <a16:creationId xmlns:a16="http://schemas.microsoft.com/office/drawing/2014/main" id="{3FCCDDCE-BDEC-BEB2-4FC1-9E3F69B63D3E}"/>
              </a:ext>
            </a:extLst>
          </p:cNvPr>
          <p:cNvPicPr>
            <a:picLocks noGrp="1" noChangeAspect="1"/>
          </p:cNvPicPr>
          <p:nvPr>
            <p:ph type="pic" sz="quarter" idx="31"/>
          </p:nvPr>
        </p:nvPicPr>
        <p:blipFill>
          <a:blip r:embed="rId3"/>
          <a:srcRect l="29938" r="2293" b="-2"/>
          <a:stretch/>
        </p:blipFill>
        <p:spPr>
          <a:xfrm>
            <a:off x="-14216" y="-22554"/>
            <a:ext cx="6235035" cy="6900432"/>
          </a:xfrm>
          <a:noFill/>
        </p:spPr>
      </p:pic>
      <p:sp>
        <p:nvSpPr>
          <p:cNvPr id="24" name="Foliennummernplatzhalter 1">
            <a:extLst>
              <a:ext uri="{FF2B5EF4-FFF2-40B4-BE49-F238E27FC236}">
                <a16:creationId xmlns:a16="http://schemas.microsoft.com/office/drawing/2014/main" id="{863FE22F-2F6A-9F54-DD8C-0C96DF2DC9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2</a:t>
            </a:fld>
            <a:endParaRPr lang="en-US" noProof="0" dirty="0"/>
          </a:p>
        </p:txBody>
      </p:sp>
      <p:sp>
        <p:nvSpPr>
          <p:cNvPr id="33" name="Footer Placeholder 3">
            <a:extLst>
              <a:ext uri="{FF2B5EF4-FFF2-40B4-BE49-F238E27FC236}">
                <a16:creationId xmlns:a16="http://schemas.microsoft.com/office/drawing/2014/main" id="{3358250B-9D9C-45CC-734E-B8550B538A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15" name="Content Placeholder 7">
            <a:extLst>
              <a:ext uri="{FF2B5EF4-FFF2-40B4-BE49-F238E27FC236}">
                <a16:creationId xmlns:a16="http://schemas.microsoft.com/office/drawing/2014/main" id="{7DC661A3-B47D-E32E-4440-52FCBEC6BF9C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524625" y="2529042"/>
            <a:ext cx="4943326" cy="2994592"/>
          </a:xfrm>
        </p:spPr>
        <p:txBody>
          <a:bodyPr anchor="t">
            <a:normAutofit/>
          </a:bodyPr>
          <a:lstStyle/>
          <a:p>
            <a:pPr>
              <a:lnSpc>
                <a:spcPct val="160000"/>
              </a:lnSpc>
              <a:spcAft>
                <a:spcPts val="600"/>
              </a:spcAft>
            </a:pPr>
            <a:r>
              <a:rPr lang="en-US" dirty="0"/>
              <a:t>Was </a:t>
            </a:r>
            <a:r>
              <a:rPr lang="en-US" dirty="0" err="1"/>
              <a:t>ist</a:t>
            </a:r>
            <a:r>
              <a:rPr lang="en-US" dirty="0"/>
              <a:t> MVC?</a:t>
            </a:r>
          </a:p>
          <a:p>
            <a:pPr>
              <a:lnSpc>
                <a:spcPct val="160000"/>
              </a:lnSpc>
              <a:spcAft>
                <a:spcPts val="600"/>
              </a:spcAft>
            </a:pPr>
            <a:r>
              <a:rPr lang="en-US" dirty="0"/>
              <a:t>Wie </a:t>
            </a:r>
            <a:r>
              <a:rPr lang="en-US" dirty="0" err="1"/>
              <a:t>funktioniert</a:t>
            </a:r>
            <a:r>
              <a:rPr lang="en-US" dirty="0"/>
              <a:t> MVC?</a:t>
            </a:r>
          </a:p>
          <a:p>
            <a:pPr>
              <a:lnSpc>
                <a:spcPct val="160000"/>
              </a:lnSpc>
              <a:spcAft>
                <a:spcPts val="600"/>
              </a:spcAft>
            </a:pPr>
            <a:r>
              <a:rPr lang="en-US" dirty="0" err="1"/>
              <a:t>Beispiel</a:t>
            </a:r>
            <a:endParaRPr lang="en-US" dirty="0"/>
          </a:p>
          <a:p>
            <a:pPr>
              <a:lnSpc>
                <a:spcPct val="160000"/>
              </a:lnSpc>
              <a:spcAft>
                <a:spcPts val="600"/>
              </a:spcAft>
            </a:pPr>
            <a:r>
              <a:rPr lang="en-US" dirty="0" err="1"/>
              <a:t>Vor</a:t>
            </a:r>
            <a:r>
              <a:rPr lang="en-US" dirty="0"/>
              <a:t>- und </a:t>
            </a:r>
            <a:r>
              <a:rPr lang="en-US" dirty="0" err="1"/>
              <a:t>Nachteile</a:t>
            </a:r>
            <a:endParaRPr lang="en-US" dirty="0"/>
          </a:p>
          <a:p>
            <a:pPr>
              <a:lnSpc>
                <a:spcPct val="160000"/>
              </a:lnSpc>
              <a:spcAft>
                <a:spcPts val="600"/>
              </a:spcAft>
            </a:pPr>
            <a:r>
              <a:rPr lang="en-US" dirty="0" err="1"/>
              <a:t>Verwandte</a:t>
            </a:r>
            <a:r>
              <a:rPr lang="en-US" dirty="0"/>
              <a:t> Pattern</a:t>
            </a:r>
          </a:p>
        </p:txBody>
      </p:sp>
      <p:sp>
        <p:nvSpPr>
          <p:cNvPr id="16" name="Title 6">
            <a:extLst>
              <a:ext uri="{FF2B5EF4-FFF2-40B4-BE49-F238E27FC236}">
                <a16:creationId xmlns:a16="http://schemas.microsoft.com/office/drawing/2014/main" id="{A882F013-588D-0B65-4FF4-FA2CC21315C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524625" y="1138423"/>
            <a:ext cx="5264150" cy="1128528"/>
          </a:xfrm>
        </p:spPr>
        <p:txBody>
          <a:bodyPr vert="horz" anchor="t">
            <a:normAutofit/>
          </a:bodyPr>
          <a:lstStyle/>
          <a:p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8931706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kt 59" hidden="1">
            <a:extLst>
              <a:ext uri="{FF2B5EF4-FFF2-40B4-BE49-F238E27FC236}">
                <a16:creationId xmlns:a16="http://schemas.microsoft.com/office/drawing/2014/main" id="{F2CD6F9F-31D0-A6B6-E4B6-9435EB665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60" name="Objekt 59" hidden="1">
                        <a:extLst>
                          <a:ext uri="{FF2B5EF4-FFF2-40B4-BE49-F238E27FC236}">
                            <a16:creationId xmlns:a16="http://schemas.microsoft.com/office/drawing/2014/main" id="{F2CD6F9F-31D0-A6B6-E4B6-9435EB665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Title 6">
            <a:extLst>
              <a:ext uri="{FF2B5EF4-FFF2-40B4-BE49-F238E27FC236}">
                <a16:creationId xmlns:a16="http://schemas.microsoft.com/office/drawing/2014/main" id="{B25DEDFE-DF85-ABD6-8BB2-8780D5295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90" y="368300"/>
            <a:ext cx="6414776" cy="1008360"/>
          </a:xfrm>
        </p:spPr>
        <p:txBody>
          <a:bodyPr vert="horz"/>
          <a:lstStyle/>
          <a:p>
            <a:r>
              <a:rPr lang="en-US" dirty="0"/>
              <a:t>Was </a:t>
            </a:r>
            <a:r>
              <a:rPr lang="en-US" dirty="0" err="1"/>
              <a:t>ist</a:t>
            </a:r>
            <a:r>
              <a:rPr lang="en-US" dirty="0"/>
              <a:t> MVC?</a:t>
            </a:r>
          </a:p>
        </p:txBody>
      </p:sp>
      <p:sp>
        <p:nvSpPr>
          <p:cNvPr id="105" name="Footer Placeholder 3">
            <a:extLst>
              <a:ext uri="{FF2B5EF4-FFF2-40B4-BE49-F238E27FC236}">
                <a16:creationId xmlns:a16="http://schemas.microsoft.com/office/drawing/2014/main" id="{62839FD8-2E39-E87C-B4A9-3164CC5D02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107" name="Foliennummernplatzhalter 1">
            <a:extLst>
              <a:ext uri="{FF2B5EF4-FFF2-40B4-BE49-F238E27FC236}">
                <a16:creationId xmlns:a16="http://schemas.microsoft.com/office/drawing/2014/main" id="{DD5D60EF-5182-5F12-3E3C-F8C9517222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3</a:t>
            </a:fld>
            <a:endParaRPr lang="en-US" noProof="0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44944B32-AE93-377A-BDB3-FB771F572826}"/>
              </a:ext>
            </a:extLst>
          </p:cNvPr>
          <p:cNvSpPr txBox="1"/>
          <p:nvPr/>
        </p:nvSpPr>
        <p:spPr>
          <a:xfrm>
            <a:off x="3099707" y="3024867"/>
            <a:ext cx="5992586" cy="80826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de-DE" sz="4800" b="1" dirty="0"/>
              <a:t>M</a:t>
            </a:r>
            <a:r>
              <a:rPr lang="de-DE" sz="4800" dirty="0"/>
              <a:t>odel-</a:t>
            </a:r>
            <a:r>
              <a:rPr lang="de-DE" sz="4800" b="1" dirty="0"/>
              <a:t>V</a:t>
            </a:r>
            <a:r>
              <a:rPr lang="de-DE" sz="4800" dirty="0"/>
              <a:t>iew-</a:t>
            </a:r>
            <a:r>
              <a:rPr lang="de-DE" sz="4800" b="1" dirty="0"/>
              <a:t>C</a:t>
            </a:r>
            <a:r>
              <a:rPr lang="de-DE" sz="4800" dirty="0"/>
              <a:t>ontroller</a:t>
            </a:r>
          </a:p>
        </p:txBody>
      </p:sp>
    </p:spTree>
    <p:extLst>
      <p:ext uri="{BB962C8B-B14F-4D97-AF65-F5344CB8AC3E}">
        <p14:creationId xmlns:p14="http://schemas.microsoft.com/office/powerpoint/2010/main" val="13394919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kt 59" hidden="1">
            <a:extLst>
              <a:ext uri="{FF2B5EF4-FFF2-40B4-BE49-F238E27FC236}">
                <a16:creationId xmlns:a16="http://schemas.microsoft.com/office/drawing/2014/main" id="{F2CD6F9F-31D0-A6B6-E4B6-9435EB665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60" name="Objekt 59" hidden="1">
                        <a:extLst>
                          <a:ext uri="{FF2B5EF4-FFF2-40B4-BE49-F238E27FC236}">
                            <a16:creationId xmlns:a16="http://schemas.microsoft.com/office/drawing/2014/main" id="{F2CD6F9F-31D0-A6B6-E4B6-9435EB665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Rechteck 62">
            <a:extLst>
              <a:ext uri="{FF2B5EF4-FFF2-40B4-BE49-F238E27FC236}">
                <a16:creationId xmlns:a16="http://schemas.microsoft.com/office/drawing/2014/main" id="{ECFF2CD3-82D9-E6EE-9AD3-11720FC2F525}"/>
              </a:ext>
            </a:extLst>
          </p:cNvPr>
          <p:cNvSpPr/>
          <p:nvPr/>
        </p:nvSpPr>
        <p:spPr>
          <a:xfrm>
            <a:off x="4022224" y="4047145"/>
            <a:ext cx="1177882" cy="112929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Autofit/>
          </a:bodyPr>
          <a:lstStyle/>
          <a:p>
            <a:pPr algn="ctr"/>
            <a:r>
              <a:rPr lang="de-DE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Model</a:t>
            </a:r>
          </a:p>
          <a:p>
            <a:pPr algn="ctr"/>
            <a:r>
              <a:rPr lang="de-DE" sz="11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Logik</a:t>
            </a: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B4B56F44-4D7B-1BF6-CC08-863FCBBE7A87}"/>
              </a:ext>
            </a:extLst>
          </p:cNvPr>
          <p:cNvSpPr/>
          <p:nvPr/>
        </p:nvSpPr>
        <p:spPr>
          <a:xfrm>
            <a:off x="6991896" y="4047145"/>
            <a:ext cx="1177882" cy="112929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Autofit/>
          </a:bodyPr>
          <a:lstStyle/>
          <a:p>
            <a:pPr algn="ctr"/>
            <a:r>
              <a:rPr lang="de-DE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View</a:t>
            </a:r>
          </a:p>
          <a:p>
            <a:pPr algn="ctr"/>
            <a:r>
              <a:rPr lang="de-DE" sz="11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UI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D5B96493-EC5B-885B-8A75-85E441DF10D2}"/>
              </a:ext>
            </a:extLst>
          </p:cNvPr>
          <p:cNvSpPr/>
          <p:nvPr/>
        </p:nvSpPr>
        <p:spPr>
          <a:xfrm>
            <a:off x="5507058" y="1875821"/>
            <a:ext cx="1177882" cy="112929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Autofit/>
          </a:bodyPr>
          <a:lstStyle/>
          <a:p>
            <a:pPr algn="ctr"/>
            <a:r>
              <a:rPr lang="de-DE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Controller</a:t>
            </a:r>
          </a:p>
          <a:p>
            <a:pPr algn="ctr"/>
            <a:r>
              <a:rPr lang="de-DE" sz="11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teuerung</a:t>
            </a:r>
          </a:p>
        </p:txBody>
      </p:sp>
      <p:cxnSp>
        <p:nvCxnSpPr>
          <p:cNvPr id="78" name="Verbinder: gewinkelt 77">
            <a:extLst>
              <a:ext uri="{FF2B5EF4-FFF2-40B4-BE49-F238E27FC236}">
                <a16:creationId xmlns:a16="http://schemas.microsoft.com/office/drawing/2014/main" id="{9C1E2001-F070-AF6C-4DA5-3EFB160CDB35}"/>
              </a:ext>
            </a:extLst>
          </p:cNvPr>
          <p:cNvCxnSpPr>
            <a:stCxn id="68" idx="2"/>
            <a:endCxn id="63" idx="0"/>
          </p:cNvCxnSpPr>
          <p:nvPr/>
        </p:nvCxnSpPr>
        <p:spPr>
          <a:xfrm rot="5400000">
            <a:off x="4832569" y="2783715"/>
            <a:ext cx="1042026" cy="1484834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Verbinder: gewinkelt 78">
            <a:extLst>
              <a:ext uri="{FF2B5EF4-FFF2-40B4-BE49-F238E27FC236}">
                <a16:creationId xmlns:a16="http://schemas.microsoft.com/office/drawing/2014/main" id="{A22A4F18-04A9-A9EF-D970-ED3F3BF72C7A}"/>
              </a:ext>
            </a:extLst>
          </p:cNvPr>
          <p:cNvCxnSpPr>
            <a:cxnSpLocks/>
            <a:stCxn id="68" idx="2"/>
            <a:endCxn id="66" idx="0"/>
          </p:cNvCxnSpPr>
          <p:nvPr/>
        </p:nvCxnSpPr>
        <p:spPr>
          <a:xfrm rot="16200000" flipH="1">
            <a:off x="6317405" y="2783713"/>
            <a:ext cx="1042026" cy="1484838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itle 6">
            <a:extLst>
              <a:ext uri="{FF2B5EF4-FFF2-40B4-BE49-F238E27FC236}">
                <a16:creationId xmlns:a16="http://schemas.microsoft.com/office/drawing/2014/main" id="{B25DEDFE-DF85-ABD6-8BB2-8780D5295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90" y="368300"/>
            <a:ext cx="6414776" cy="1008360"/>
          </a:xfrm>
        </p:spPr>
        <p:txBody>
          <a:bodyPr vert="horz"/>
          <a:lstStyle/>
          <a:p>
            <a:r>
              <a:rPr lang="en-US" dirty="0"/>
              <a:t>Wie </a:t>
            </a:r>
            <a:r>
              <a:rPr lang="en-US" dirty="0" err="1"/>
              <a:t>funktioniert</a:t>
            </a:r>
            <a:r>
              <a:rPr lang="en-US" dirty="0"/>
              <a:t> MVC?</a:t>
            </a:r>
          </a:p>
        </p:txBody>
      </p:sp>
      <p:sp>
        <p:nvSpPr>
          <p:cNvPr id="105" name="Footer Placeholder 3">
            <a:extLst>
              <a:ext uri="{FF2B5EF4-FFF2-40B4-BE49-F238E27FC236}">
                <a16:creationId xmlns:a16="http://schemas.microsoft.com/office/drawing/2014/main" id="{62839FD8-2E39-E87C-B4A9-3164CC5D02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107" name="Foliennummernplatzhalter 1">
            <a:extLst>
              <a:ext uri="{FF2B5EF4-FFF2-40B4-BE49-F238E27FC236}">
                <a16:creationId xmlns:a16="http://schemas.microsoft.com/office/drawing/2014/main" id="{DD5D60EF-5182-5F12-3E3C-F8C9517222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4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7962153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kt 59" hidden="1">
            <a:extLst>
              <a:ext uri="{FF2B5EF4-FFF2-40B4-BE49-F238E27FC236}">
                <a16:creationId xmlns:a16="http://schemas.microsoft.com/office/drawing/2014/main" id="{F2CD6F9F-31D0-A6B6-E4B6-9435EB665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60" name="Objekt 59" hidden="1">
                        <a:extLst>
                          <a:ext uri="{FF2B5EF4-FFF2-40B4-BE49-F238E27FC236}">
                            <a16:creationId xmlns:a16="http://schemas.microsoft.com/office/drawing/2014/main" id="{F2CD6F9F-31D0-A6B6-E4B6-9435EB665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Title 6">
            <a:extLst>
              <a:ext uri="{FF2B5EF4-FFF2-40B4-BE49-F238E27FC236}">
                <a16:creationId xmlns:a16="http://schemas.microsoft.com/office/drawing/2014/main" id="{B25DEDFE-DF85-ABD6-8BB2-8780D5295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90" y="368300"/>
            <a:ext cx="6414776" cy="1008360"/>
          </a:xfrm>
        </p:spPr>
        <p:txBody>
          <a:bodyPr vert="horz"/>
          <a:lstStyle/>
          <a:p>
            <a:r>
              <a:rPr lang="en-US" dirty="0"/>
              <a:t>Wie </a:t>
            </a:r>
            <a:r>
              <a:rPr lang="en-US" dirty="0" err="1"/>
              <a:t>funktioniert</a:t>
            </a:r>
            <a:r>
              <a:rPr lang="en-US" dirty="0"/>
              <a:t> MVC?</a:t>
            </a:r>
          </a:p>
        </p:txBody>
      </p:sp>
      <p:sp>
        <p:nvSpPr>
          <p:cNvPr id="105" name="Footer Placeholder 3">
            <a:extLst>
              <a:ext uri="{FF2B5EF4-FFF2-40B4-BE49-F238E27FC236}">
                <a16:creationId xmlns:a16="http://schemas.microsoft.com/office/drawing/2014/main" id="{62839FD8-2E39-E87C-B4A9-3164CC5D02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107" name="Foliennummernplatzhalter 1">
            <a:extLst>
              <a:ext uri="{FF2B5EF4-FFF2-40B4-BE49-F238E27FC236}">
                <a16:creationId xmlns:a16="http://schemas.microsoft.com/office/drawing/2014/main" id="{DD5D60EF-5182-5F12-3E3C-F8C9517222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5</a:t>
            </a:fld>
            <a:endParaRPr lang="en-US" noProof="0" dirty="0"/>
          </a:p>
        </p:txBody>
      </p:sp>
      <p:pic>
        <p:nvPicPr>
          <p:cNvPr id="3" name="Grafik 2" descr="Ein Bild, das Text, Screenshot, Schrift, Zahl enthält.&#10;&#10;Automatisch generierte Beschreibung">
            <a:extLst>
              <a:ext uri="{FF2B5EF4-FFF2-40B4-BE49-F238E27FC236}">
                <a16:creationId xmlns:a16="http://schemas.microsoft.com/office/drawing/2014/main" id="{089F6692-AA62-3609-D75B-AD4346797AD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98273" y="1351761"/>
            <a:ext cx="6195454" cy="4154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22798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kt 59" hidden="1">
            <a:extLst>
              <a:ext uri="{FF2B5EF4-FFF2-40B4-BE49-F238E27FC236}">
                <a16:creationId xmlns:a16="http://schemas.microsoft.com/office/drawing/2014/main" id="{F2CD6F9F-31D0-A6B6-E4B6-9435EB665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60" name="Objekt 59" hidden="1">
                        <a:extLst>
                          <a:ext uri="{FF2B5EF4-FFF2-40B4-BE49-F238E27FC236}">
                            <a16:creationId xmlns:a16="http://schemas.microsoft.com/office/drawing/2014/main" id="{F2CD6F9F-31D0-A6B6-E4B6-9435EB665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Title 6">
            <a:extLst>
              <a:ext uri="{FF2B5EF4-FFF2-40B4-BE49-F238E27FC236}">
                <a16:creationId xmlns:a16="http://schemas.microsoft.com/office/drawing/2014/main" id="{B25DEDFE-DF85-ABD6-8BB2-8780D5295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90" y="368300"/>
            <a:ext cx="6414776" cy="1008360"/>
          </a:xfrm>
        </p:spPr>
        <p:txBody>
          <a:bodyPr vert="horz"/>
          <a:lstStyle/>
          <a:p>
            <a:r>
              <a:rPr lang="en-US" dirty="0"/>
              <a:t>Wie </a:t>
            </a:r>
            <a:r>
              <a:rPr lang="en-US" dirty="0" err="1"/>
              <a:t>funktioniert</a:t>
            </a:r>
            <a:r>
              <a:rPr lang="en-US" dirty="0"/>
              <a:t> MVC? - </a:t>
            </a:r>
            <a:r>
              <a:rPr lang="en-US" dirty="0" err="1"/>
              <a:t>Beispiel</a:t>
            </a:r>
            <a:endParaRPr lang="en-US" dirty="0"/>
          </a:p>
        </p:txBody>
      </p:sp>
      <p:sp>
        <p:nvSpPr>
          <p:cNvPr id="105" name="Footer Placeholder 3">
            <a:extLst>
              <a:ext uri="{FF2B5EF4-FFF2-40B4-BE49-F238E27FC236}">
                <a16:creationId xmlns:a16="http://schemas.microsoft.com/office/drawing/2014/main" id="{62839FD8-2E39-E87C-B4A9-3164CC5D02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107" name="Foliennummernplatzhalter 1">
            <a:extLst>
              <a:ext uri="{FF2B5EF4-FFF2-40B4-BE49-F238E27FC236}">
                <a16:creationId xmlns:a16="http://schemas.microsoft.com/office/drawing/2014/main" id="{DD5D60EF-5182-5F12-3E3C-F8C9517222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6</a:t>
            </a:fld>
            <a:endParaRPr lang="en-US" noProof="0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DC68FB52-65D2-1116-5B83-FB600D7E101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97600" y="2209630"/>
            <a:ext cx="3458058" cy="243874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015E5033-3409-A2FA-3E0F-4FE22CBAFBD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83657" y="1985761"/>
            <a:ext cx="4610743" cy="2886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21496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kt 59" hidden="1">
            <a:extLst>
              <a:ext uri="{FF2B5EF4-FFF2-40B4-BE49-F238E27FC236}">
                <a16:creationId xmlns:a16="http://schemas.microsoft.com/office/drawing/2014/main" id="{F2CD6F9F-31D0-A6B6-E4B6-9435EB665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60" name="Objekt 59" hidden="1">
                        <a:extLst>
                          <a:ext uri="{FF2B5EF4-FFF2-40B4-BE49-F238E27FC236}">
                            <a16:creationId xmlns:a16="http://schemas.microsoft.com/office/drawing/2014/main" id="{F2CD6F9F-31D0-A6B6-E4B6-9435EB665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Title 6">
            <a:extLst>
              <a:ext uri="{FF2B5EF4-FFF2-40B4-BE49-F238E27FC236}">
                <a16:creationId xmlns:a16="http://schemas.microsoft.com/office/drawing/2014/main" id="{B25DEDFE-DF85-ABD6-8BB2-8780D5295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90" y="368300"/>
            <a:ext cx="6414776" cy="1008360"/>
          </a:xfrm>
        </p:spPr>
        <p:txBody>
          <a:bodyPr vert="horz"/>
          <a:lstStyle/>
          <a:p>
            <a:r>
              <a:rPr lang="en-US" dirty="0"/>
              <a:t>Wie </a:t>
            </a:r>
            <a:r>
              <a:rPr lang="en-US" dirty="0" err="1"/>
              <a:t>funktioniert</a:t>
            </a:r>
            <a:r>
              <a:rPr lang="en-US" dirty="0"/>
              <a:t> MVC? - </a:t>
            </a:r>
            <a:r>
              <a:rPr lang="en-US" dirty="0" err="1"/>
              <a:t>Beispiel</a:t>
            </a:r>
            <a:endParaRPr lang="en-US" dirty="0"/>
          </a:p>
        </p:txBody>
      </p:sp>
      <p:sp>
        <p:nvSpPr>
          <p:cNvPr id="105" name="Footer Placeholder 3">
            <a:extLst>
              <a:ext uri="{FF2B5EF4-FFF2-40B4-BE49-F238E27FC236}">
                <a16:creationId xmlns:a16="http://schemas.microsoft.com/office/drawing/2014/main" id="{62839FD8-2E39-E87C-B4A9-3164CC5D02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107" name="Foliennummernplatzhalter 1">
            <a:extLst>
              <a:ext uri="{FF2B5EF4-FFF2-40B4-BE49-F238E27FC236}">
                <a16:creationId xmlns:a16="http://schemas.microsoft.com/office/drawing/2014/main" id="{DD5D60EF-5182-5F12-3E3C-F8C9517222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7</a:t>
            </a:fld>
            <a:endParaRPr lang="en-US" noProof="0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9F995347-45DD-3439-C19D-E246A484737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43807" y="2562103"/>
            <a:ext cx="3115110" cy="1733792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D41DB514-F46F-5AEB-C567-0C2B7713B90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37608" y="2228681"/>
            <a:ext cx="4010585" cy="2400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806048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kt 59" hidden="1">
            <a:extLst>
              <a:ext uri="{FF2B5EF4-FFF2-40B4-BE49-F238E27FC236}">
                <a16:creationId xmlns:a16="http://schemas.microsoft.com/office/drawing/2014/main" id="{F2CD6F9F-31D0-A6B6-E4B6-9435EB665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60" name="Objekt 59" hidden="1">
                        <a:extLst>
                          <a:ext uri="{FF2B5EF4-FFF2-40B4-BE49-F238E27FC236}">
                            <a16:creationId xmlns:a16="http://schemas.microsoft.com/office/drawing/2014/main" id="{F2CD6F9F-31D0-A6B6-E4B6-9435EB665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Title 6">
            <a:extLst>
              <a:ext uri="{FF2B5EF4-FFF2-40B4-BE49-F238E27FC236}">
                <a16:creationId xmlns:a16="http://schemas.microsoft.com/office/drawing/2014/main" id="{B25DEDFE-DF85-ABD6-8BB2-8780D5295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90" y="368300"/>
            <a:ext cx="6414776" cy="1008360"/>
          </a:xfrm>
        </p:spPr>
        <p:txBody>
          <a:bodyPr vert="horz"/>
          <a:lstStyle/>
          <a:p>
            <a:r>
              <a:rPr lang="en-US" dirty="0" err="1"/>
              <a:t>Vorteile</a:t>
            </a:r>
            <a:r>
              <a:rPr lang="en-US" dirty="0"/>
              <a:t> MVC?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13A3BA8C-1ABF-55E0-720D-F931D607984D}"/>
              </a:ext>
            </a:extLst>
          </p:cNvPr>
          <p:cNvSpPr txBox="1"/>
          <p:nvPr/>
        </p:nvSpPr>
        <p:spPr>
          <a:xfrm>
            <a:off x="1487316" y="3166427"/>
            <a:ext cx="2528195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MVC ermöglicht es, die Benutzeroberfläche zu ändern, ohne Änderungen an der Logik vornehmen zu müssen.</a:t>
            </a:r>
            <a:endParaRPr lang="de-DE" sz="18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3" name="Titel 4">
            <a:extLst>
              <a:ext uri="{FF2B5EF4-FFF2-40B4-BE49-F238E27FC236}">
                <a16:creationId xmlns:a16="http://schemas.microsoft.com/office/drawing/2014/main" id="{8AB5BE43-6FF0-6B07-B47B-A612C482CB56}"/>
              </a:ext>
            </a:extLst>
          </p:cNvPr>
          <p:cNvSpPr txBox="1">
            <a:spLocks/>
          </p:cNvSpPr>
          <p:nvPr/>
        </p:nvSpPr>
        <p:spPr bwMode="black">
          <a:xfrm>
            <a:off x="1593930" y="2645229"/>
            <a:ext cx="1670468" cy="5537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271" rtl="0" eaLnBrk="1" latinLnBrk="0" hangingPunct="1">
              <a:spcBef>
                <a:spcPts val="0"/>
              </a:spcBef>
              <a:buFont typeface="+mj-lt"/>
              <a:buNone/>
              <a:defRPr sz="3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800" b="1" dirty="0"/>
              <a:t>Modularität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9E29EDB8-D825-AF90-E308-E5C0405B4185}"/>
              </a:ext>
            </a:extLst>
          </p:cNvPr>
          <p:cNvGrpSpPr/>
          <p:nvPr/>
        </p:nvGrpSpPr>
        <p:grpSpPr>
          <a:xfrm>
            <a:off x="3266612" y="2669415"/>
            <a:ext cx="407316" cy="407318"/>
            <a:chOff x="2582863" y="4249738"/>
            <a:chExt cx="265112" cy="265113"/>
          </a:xfrm>
          <a:solidFill>
            <a:schemeClr val="tx1"/>
          </a:solidFill>
        </p:grpSpPr>
        <p:sp>
          <p:nvSpPr>
            <p:cNvPr id="5" name="Freeform 29">
              <a:extLst>
                <a:ext uri="{FF2B5EF4-FFF2-40B4-BE49-F238E27FC236}">
                  <a16:creationId xmlns:a16="http://schemas.microsoft.com/office/drawing/2014/main" id="{F5D5DB66-1AC2-8AB3-B012-67E0096D85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67000" y="4333875"/>
              <a:ext cx="95250" cy="96838"/>
            </a:xfrm>
            <a:custGeom>
              <a:avLst/>
              <a:gdLst>
                <a:gd name="T0" fmla="*/ 123 w 245"/>
                <a:gd name="T1" fmla="*/ 0 h 245"/>
                <a:gd name="T2" fmla="*/ 0 w 245"/>
                <a:gd name="T3" fmla="*/ 122 h 245"/>
                <a:gd name="T4" fmla="*/ 123 w 245"/>
                <a:gd name="T5" fmla="*/ 245 h 245"/>
                <a:gd name="T6" fmla="*/ 245 w 245"/>
                <a:gd name="T7" fmla="*/ 122 h 245"/>
                <a:gd name="T8" fmla="*/ 123 w 245"/>
                <a:gd name="T9" fmla="*/ 0 h 245"/>
                <a:gd name="T10" fmla="*/ 123 w 245"/>
                <a:gd name="T11" fmla="*/ 228 h 245"/>
                <a:gd name="T12" fmla="*/ 17 w 245"/>
                <a:gd name="T13" fmla="*/ 122 h 245"/>
                <a:gd name="T14" fmla="*/ 123 w 245"/>
                <a:gd name="T15" fmla="*/ 17 h 245"/>
                <a:gd name="T16" fmla="*/ 228 w 245"/>
                <a:gd name="T17" fmla="*/ 122 h 245"/>
                <a:gd name="T18" fmla="*/ 123 w 245"/>
                <a:gd name="T19" fmla="*/ 228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5" h="245">
                  <a:moveTo>
                    <a:pt x="123" y="0"/>
                  </a:moveTo>
                  <a:cubicBezTo>
                    <a:pt x="55" y="0"/>
                    <a:pt x="0" y="55"/>
                    <a:pt x="0" y="122"/>
                  </a:cubicBezTo>
                  <a:cubicBezTo>
                    <a:pt x="0" y="190"/>
                    <a:pt x="55" y="245"/>
                    <a:pt x="123" y="245"/>
                  </a:cubicBezTo>
                  <a:cubicBezTo>
                    <a:pt x="190" y="245"/>
                    <a:pt x="245" y="190"/>
                    <a:pt x="245" y="122"/>
                  </a:cubicBezTo>
                  <a:cubicBezTo>
                    <a:pt x="245" y="55"/>
                    <a:pt x="190" y="0"/>
                    <a:pt x="123" y="0"/>
                  </a:cubicBezTo>
                  <a:close/>
                  <a:moveTo>
                    <a:pt x="123" y="228"/>
                  </a:moveTo>
                  <a:cubicBezTo>
                    <a:pt x="65" y="228"/>
                    <a:pt x="17" y="180"/>
                    <a:pt x="17" y="122"/>
                  </a:cubicBezTo>
                  <a:cubicBezTo>
                    <a:pt x="17" y="64"/>
                    <a:pt x="65" y="17"/>
                    <a:pt x="123" y="17"/>
                  </a:cubicBezTo>
                  <a:cubicBezTo>
                    <a:pt x="181" y="17"/>
                    <a:pt x="228" y="64"/>
                    <a:pt x="228" y="122"/>
                  </a:cubicBezTo>
                  <a:cubicBezTo>
                    <a:pt x="228" y="180"/>
                    <a:pt x="181" y="228"/>
                    <a:pt x="123" y="228"/>
                  </a:cubicBezTo>
                  <a:close/>
                </a:path>
              </a:pathLst>
            </a:custGeom>
            <a:grpFill/>
            <a:ln>
              <a:solidFill>
                <a:schemeClr val="bg2">
                  <a:lumMod val="50000"/>
                </a:schemeClr>
              </a:solidFill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6" name="Freeform 30">
              <a:extLst>
                <a:ext uri="{FF2B5EF4-FFF2-40B4-BE49-F238E27FC236}">
                  <a16:creationId xmlns:a16="http://schemas.microsoft.com/office/drawing/2014/main" id="{89E138EE-E6F9-8CB6-39B3-6A2EC7B294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82863" y="4249738"/>
              <a:ext cx="265112" cy="265113"/>
            </a:xfrm>
            <a:custGeom>
              <a:avLst/>
              <a:gdLst>
                <a:gd name="T0" fmla="*/ 676 w 678"/>
                <a:gd name="T1" fmla="*/ 273 h 678"/>
                <a:gd name="T2" fmla="*/ 630 w 678"/>
                <a:gd name="T3" fmla="*/ 152 h 678"/>
                <a:gd name="T4" fmla="*/ 617 w 678"/>
                <a:gd name="T5" fmla="*/ 150 h 678"/>
                <a:gd name="T6" fmla="*/ 529 w 678"/>
                <a:gd name="T7" fmla="*/ 61 h 678"/>
                <a:gd name="T8" fmla="*/ 527 w 678"/>
                <a:gd name="T9" fmla="*/ 48 h 678"/>
                <a:gd name="T10" fmla="*/ 405 w 678"/>
                <a:gd name="T11" fmla="*/ 2 h 678"/>
                <a:gd name="T12" fmla="*/ 339 w 678"/>
                <a:gd name="T13" fmla="*/ 65 h 678"/>
                <a:gd name="T14" fmla="*/ 273 w 678"/>
                <a:gd name="T15" fmla="*/ 2 h 678"/>
                <a:gd name="T16" fmla="*/ 151 w 678"/>
                <a:gd name="T17" fmla="*/ 48 h 678"/>
                <a:gd name="T18" fmla="*/ 149 w 678"/>
                <a:gd name="T19" fmla="*/ 61 h 678"/>
                <a:gd name="T20" fmla="*/ 60 w 678"/>
                <a:gd name="T21" fmla="*/ 150 h 678"/>
                <a:gd name="T22" fmla="*/ 48 w 678"/>
                <a:gd name="T23" fmla="*/ 152 h 678"/>
                <a:gd name="T24" fmla="*/ 2 w 678"/>
                <a:gd name="T25" fmla="*/ 273 h 678"/>
                <a:gd name="T26" fmla="*/ 64 w 678"/>
                <a:gd name="T27" fmla="*/ 339 h 678"/>
                <a:gd name="T28" fmla="*/ 2 w 678"/>
                <a:gd name="T29" fmla="*/ 406 h 678"/>
                <a:gd name="T30" fmla="*/ 48 w 678"/>
                <a:gd name="T31" fmla="*/ 527 h 678"/>
                <a:gd name="T32" fmla="*/ 60 w 678"/>
                <a:gd name="T33" fmla="*/ 529 h 678"/>
                <a:gd name="T34" fmla="*/ 149 w 678"/>
                <a:gd name="T35" fmla="*/ 618 h 678"/>
                <a:gd name="T36" fmla="*/ 151 w 678"/>
                <a:gd name="T37" fmla="*/ 630 h 678"/>
                <a:gd name="T38" fmla="*/ 273 w 678"/>
                <a:gd name="T39" fmla="*/ 677 h 678"/>
                <a:gd name="T40" fmla="*/ 339 w 678"/>
                <a:gd name="T41" fmla="*/ 614 h 678"/>
                <a:gd name="T42" fmla="*/ 405 w 678"/>
                <a:gd name="T43" fmla="*/ 677 h 678"/>
                <a:gd name="T44" fmla="*/ 412 w 678"/>
                <a:gd name="T45" fmla="*/ 678 h 678"/>
                <a:gd name="T46" fmla="*/ 530 w 678"/>
                <a:gd name="T47" fmla="*/ 625 h 678"/>
                <a:gd name="T48" fmla="*/ 533 w 678"/>
                <a:gd name="T49" fmla="*/ 534 h 678"/>
                <a:gd name="T50" fmla="*/ 624 w 678"/>
                <a:gd name="T51" fmla="*/ 531 h 678"/>
                <a:gd name="T52" fmla="*/ 677 w 678"/>
                <a:gd name="T53" fmla="*/ 412 h 678"/>
                <a:gd name="T54" fmla="*/ 670 w 678"/>
                <a:gd name="T55" fmla="*/ 402 h 678"/>
                <a:gd name="T56" fmla="*/ 670 w 678"/>
                <a:gd name="T57" fmla="*/ 277 h 678"/>
                <a:gd name="T58" fmla="*/ 659 w 678"/>
                <a:gd name="T59" fmla="*/ 417 h 678"/>
                <a:gd name="T60" fmla="*/ 521 w 678"/>
                <a:gd name="T61" fmla="*/ 522 h 678"/>
                <a:gd name="T62" fmla="*/ 417 w 678"/>
                <a:gd name="T63" fmla="*/ 659 h 678"/>
                <a:gd name="T64" fmla="*/ 261 w 678"/>
                <a:gd name="T65" fmla="*/ 659 h 678"/>
                <a:gd name="T66" fmla="*/ 157 w 678"/>
                <a:gd name="T67" fmla="*/ 522 h 678"/>
                <a:gd name="T68" fmla="*/ 19 w 678"/>
                <a:gd name="T69" fmla="*/ 417 h 678"/>
                <a:gd name="T70" fmla="*/ 19 w 678"/>
                <a:gd name="T71" fmla="*/ 261 h 678"/>
                <a:gd name="T72" fmla="*/ 157 w 678"/>
                <a:gd name="T73" fmla="*/ 157 h 678"/>
                <a:gd name="T74" fmla="*/ 261 w 678"/>
                <a:gd name="T75" fmla="*/ 19 h 678"/>
                <a:gd name="T76" fmla="*/ 417 w 678"/>
                <a:gd name="T77" fmla="*/ 19 h 678"/>
                <a:gd name="T78" fmla="*/ 521 w 678"/>
                <a:gd name="T79" fmla="*/ 157 h 678"/>
                <a:gd name="T80" fmla="*/ 659 w 678"/>
                <a:gd name="T81" fmla="*/ 261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78" h="678">
                  <a:moveTo>
                    <a:pt x="670" y="277"/>
                  </a:moveTo>
                  <a:cubicBezTo>
                    <a:pt x="672" y="276"/>
                    <a:pt x="675" y="275"/>
                    <a:pt x="676" y="273"/>
                  </a:cubicBezTo>
                  <a:cubicBezTo>
                    <a:pt x="677" y="271"/>
                    <a:pt x="678" y="269"/>
                    <a:pt x="677" y="266"/>
                  </a:cubicBezTo>
                  <a:cubicBezTo>
                    <a:pt x="669" y="225"/>
                    <a:pt x="653" y="187"/>
                    <a:pt x="630" y="152"/>
                  </a:cubicBezTo>
                  <a:cubicBezTo>
                    <a:pt x="629" y="150"/>
                    <a:pt x="627" y="148"/>
                    <a:pt x="624" y="148"/>
                  </a:cubicBezTo>
                  <a:cubicBezTo>
                    <a:pt x="622" y="147"/>
                    <a:pt x="619" y="148"/>
                    <a:pt x="617" y="150"/>
                  </a:cubicBezTo>
                  <a:cubicBezTo>
                    <a:pt x="592" y="170"/>
                    <a:pt x="556" y="168"/>
                    <a:pt x="533" y="145"/>
                  </a:cubicBezTo>
                  <a:cubicBezTo>
                    <a:pt x="510" y="122"/>
                    <a:pt x="508" y="86"/>
                    <a:pt x="529" y="61"/>
                  </a:cubicBezTo>
                  <a:cubicBezTo>
                    <a:pt x="530" y="59"/>
                    <a:pt x="531" y="56"/>
                    <a:pt x="530" y="54"/>
                  </a:cubicBezTo>
                  <a:cubicBezTo>
                    <a:pt x="530" y="52"/>
                    <a:pt x="529" y="50"/>
                    <a:pt x="527" y="48"/>
                  </a:cubicBezTo>
                  <a:cubicBezTo>
                    <a:pt x="491" y="26"/>
                    <a:pt x="453" y="10"/>
                    <a:pt x="412" y="1"/>
                  </a:cubicBezTo>
                  <a:cubicBezTo>
                    <a:pt x="410" y="0"/>
                    <a:pt x="407" y="1"/>
                    <a:pt x="405" y="2"/>
                  </a:cubicBezTo>
                  <a:cubicBezTo>
                    <a:pt x="403" y="4"/>
                    <a:pt x="402" y="6"/>
                    <a:pt x="402" y="8"/>
                  </a:cubicBezTo>
                  <a:cubicBezTo>
                    <a:pt x="398" y="40"/>
                    <a:pt x="371" y="65"/>
                    <a:pt x="339" y="65"/>
                  </a:cubicBezTo>
                  <a:cubicBezTo>
                    <a:pt x="306" y="65"/>
                    <a:pt x="279" y="40"/>
                    <a:pt x="276" y="8"/>
                  </a:cubicBezTo>
                  <a:cubicBezTo>
                    <a:pt x="276" y="6"/>
                    <a:pt x="275" y="4"/>
                    <a:pt x="273" y="2"/>
                  </a:cubicBezTo>
                  <a:cubicBezTo>
                    <a:pt x="271" y="1"/>
                    <a:pt x="268" y="0"/>
                    <a:pt x="266" y="1"/>
                  </a:cubicBezTo>
                  <a:cubicBezTo>
                    <a:pt x="225" y="10"/>
                    <a:pt x="186" y="26"/>
                    <a:pt x="151" y="48"/>
                  </a:cubicBezTo>
                  <a:cubicBezTo>
                    <a:pt x="149" y="50"/>
                    <a:pt x="148" y="52"/>
                    <a:pt x="147" y="54"/>
                  </a:cubicBezTo>
                  <a:cubicBezTo>
                    <a:pt x="147" y="56"/>
                    <a:pt x="148" y="59"/>
                    <a:pt x="149" y="61"/>
                  </a:cubicBezTo>
                  <a:cubicBezTo>
                    <a:pt x="169" y="86"/>
                    <a:pt x="168" y="122"/>
                    <a:pt x="145" y="145"/>
                  </a:cubicBezTo>
                  <a:cubicBezTo>
                    <a:pt x="122" y="168"/>
                    <a:pt x="85" y="170"/>
                    <a:pt x="60" y="150"/>
                  </a:cubicBezTo>
                  <a:cubicBezTo>
                    <a:pt x="58" y="148"/>
                    <a:pt x="56" y="147"/>
                    <a:pt x="54" y="148"/>
                  </a:cubicBezTo>
                  <a:cubicBezTo>
                    <a:pt x="51" y="148"/>
                    <a:pt x="49" y="150"/>
                    <a:pt x="48" y="152"/>
                  </a:cubicBezTo>
                  <a:cubicBezTo>
                    <a:pt x="25" y="187"/>
                    <a:pt x="9" y="225"/>
                    <a:pt x="0" y="266"/>
                  </a:cubicBezTo>
                  <a:cubicBezTo>
                    <a:pt x="0" y="269"/>
                    <a:pt x="0" y="271"/>
                    <a:pt x="2" y="273"/>
                  </a:cubicBezTo>
                  <a:cubicBezTo>
                    <a:pt x="3" y="275"/>
                    <a:pt x="5" y="276"/>
                    <a:pt x="8" y="277"/>
                  </a:cubicBezTo>
                  <a:cubicBezTo>
                    <a:pt x="40" y="280"/>
                    <a:pt x="64" y="307"/>
                    <a:pt x="64" y="339"/>
                  </a:cubicBezTo>
                  <a:cubicBezTo>
                    <a:pt x="64" y="372"/>
                    <a:pt x="40" y="399"/>
                    <a:pt x="8" y="402"/>
                  </a:cubicBezTo>
                  <a:cubicBezTo>
                    <a:pt x="5" y="402"/>
                    <a:pt x="3" y="404"/>
                    <a:pt x="2" y="406"/>
                  </a:cubicBezTo>
                  <a:cubicBezTo>
                    <a:pt x="0" y="408"/>
                    <a:pt x="0" y="410"/>
                    <a:pt x="0" y="412"/>
                  </a:cubicBezTo>
                  <a:cubicBezTo>
                    <a:pt x="9" y="453"/>
                    <a:pt x="25" y="492"/>
                    <a:pt x="48" y="527"/>
                  </a:cubicBezTo>
                  <a:cubicBezTo>
                    <a:pt x="49" y="529"/>
                    <a:pt x="51" y="530"/>
                    <a:pt x="54" y="531"/>
                  </a:cubicBezTo>
                  <a:cubicBezTo>
                    <a:pt x="56" y="531"/>
                    <a:pt x="58" y="531"/>
                    <a:pt x="60" y="529"/>
                  </a:cubicBezTo>
                  <a:cubicBezTo>
                    <a:pt x="85" y="509"/>
                    <a:pt x="122" y="511"/>
                    <a:pt x="145" y="534"/>
                  </a:cubicBezTo>
                  <a:cubicBezTo>
                    <a:pt x="168" y="557"/>
                    <a:pt x="169" y="593"/>
                    <a:pt x="149" y="618"/>
                  </a:cubicBezTo>
                  <a:cubicBezTo>
                    <a:pt x="148" y="620"/>
                    <a:pt x="147" y="622"/>
                    <a:pt x="147" y="625"/>
                  </a:cubicBezTo>
                  <a:cubicBezTo>
                    <a:pt x="148" y="627"/>
                    <a:pt x="149" y="629"/>
                    <a:pt x="151" y="630"/>
                  </a:cubicBezTo>
                  <a:cubicBezTo>
                    <a:pt x="186" y="653"/>
                    <a:pt x="225" y="669"/>
                    <a:pt x="266" y="678"/>
                  </a:cubicBezTo>
                  <a:cubicBezTo>
                    <a:pt x="268" y="678"/>
                    <a:pt x="271" y="678"/>
                    <a:pt x="273" y="677"/>
                  </a:cubicBezTo>
                  <a:cubicBezTo>
                    <a:pt x="275" y="675"/>
                    <a:pt x="276" y="673"/>
                    <a:pt x="276" y="671"/>
                  </a:cubicBezTo>
                  <a:cubicBezTo>
                    <a:pt x="279" y="638"/>
                    <a:pt x="306" y="614"/>
                    <a:pt x="339" y="614"/>
                  </a:cubicBezTo>
                  <a:cubicBezTo>
                    <a:pt x="371" y="614"/>
                    <a:pt x="398" y="638"/>
                    <a:pt x="402" y="671"/>
                  </a:cubicBezTo>
                  <a:cubicBezTo>
                    <a:pt x="402" y="673"/>
                    <a:pt x="403" y="675"/>
                    <a:pt x="405" y="677"/>
                  </a:cubicBezTo>
                  <a:cubicBezTo>
                    <a:pt x="407" y="678"/>
                    <a:pt x="408" y="678"/>
                    <a:pt x="410" y="678"/>
                  </a:cubicBezTo>
                  <a:cubicBezTo>
                    <a:pt x="411" y="678"/>
                    <a:pt x="411" y="678"/>
                    <a:pt x="412" y="678"/>
                  </a:cubicBezTo>
                  <a:cubicBezTo>
                    <a:pt x="453" y="669"/>
                    <a:pt x="491" y="653"/>
                    <a:pt x="527" y="630"/>
                  </a:cubicBezTo>
                  <a:cubicBezTo>
                    <a:pt x="529" y="629"/>
                    <a:pt x="530" y="627"/>
                    <a:pt x="530" y="625"/>
                  </a:cubicBezTo>
                  <a:cubicBezTo>
                    <a:pt x="531" y="622"/>
                    <a:pt x="530" y="620"/>
                    <a:pt x="529" y="618"/>
                  </a:cubicBezTo>
                  <a:cubicBezTo>
                    <a:pt x="508" y="593"/>
                    <a:pt x="510" y="557"/>
                    <a:pt x="533" y="534"/>
                  </a:cubicBezTo>
                  <a:cubicBezTo>
                    <a:pt x="556" y="511"/>
                    <a:pt x="592" y="509"/>
                    <a:pt x="617" y="529"/>
                  </a:cubicBezTo>
                  <a:cubicBezTo>
                    <a:pt x="619" y="531"/>
                    <a:pt x="622" y="531"/>
                    <a:pt x="624" y="531"/>
                  </a:cubicBezTo>
                  <a:cubicBezTo>
                    <a:pt x="626" y="530"/>
                    <a:pt x="629" y="529"/>
                    <a:pt x="630" y="527"/>
                  </a:cubicBezTo>
                  <a:cubicBezTo>
                    <a:pt x="653" y="492"/>
                    <a:pt x="669" y="453"/>
                    <a:pt x="677" y="412"/>
                  </a:cubicBezTo>
                  <a:cubicBezTo>
                    <a:pt x="678" y="410"/>
                    <a:pt x="677" y="408"/>
                    <a:pt x="676" y="406"/>
                  </a:cubicBezTo>
                  <a:cubicBezTo>
                    <a:pt x="675" y="404"/>
                    <a:pt x="672" y="402"/>
                    <a:pt x="670" y="402"/>
                  </a:cubicBezTo>
                  <a:cubicBezTo>
                    <a:pt x="638" y="399"/>
                    <a:pt x="614" y="372"/>
                    <a:pt x="614" y="339"/>
                  </a:cubicBezTo>
                  <a:cubicBezTo>
                    <a:pt x="614" y="307"/>
                    <a:pt x="638" y="280"/>
                    <a:pt x="670" y="277"/>
                  </a:cubicBezTo>
                  <a:close/>
                  <a:moveTo>
                    <a:pt x="597" y="339"/>
                  </a:moveTo>
                  <a:cubicBezTo>
                    <a:pt x="597" y="377"/>
                    <a:pt x="623" y="409"/>
                    <a:pt x="659" y="417"/>
                  </a:cubicBezTo>
                  <a:cubicBezTo>
                    <a:pt x="651" y="450"/>
                    <a:pt x="638" y="481"/>
                    <a:pt x="620" y="510"/>
                  </a:cubicBezTo>
                  <a:cubicBezTo>
                    <a:pt x="589" y="491"/>
                    <a:pt x="548" y="495"/>
                    <a:pt x="521" y="522"/>
                  </a:cubicBezTo>
                  <a:cubicBezTo>
                    <a:pt x="494" y="548"/>
                    <a:pt x="490" y="590"/>
                    <a:pt x="510" y="621"/>
                  </a:cubicBezTo>
                  <a:cubicBezTo>
                    <a:pt x="481" y="639"/>
                    <a:pt x="450" y="651"/>
                    <a:pt x="417" y="659"/>
                  </a:cubicBezTo>
                  <a:cubicBezTo>
                    <a:pt x="409" y="623"/>
                    <a:pt x="377" y="597"/>
                    <a:pt x="339" y="597"/>
                  </a:cubicBezTo>
                  <a:cubicBezTo>
                    <a:pt x="301" y="597"/>
                    <a:pt x="269" y="623"/>
                    <a:pt x="261" y="659"/>
                  </a:cubicBezTo>
                  <a:cubicBezTo>
                    <a:pt x="228" y="651"/>
                    <a:pt x="197" y="639"/>
                    <a:pt x="168" y="621"/>
                  </a:cubicBezTo>
                  <a:cubicBezTo>
                    <a:pt x="188" y="590"/>
                    <a:pt x="183" y="548"/>
                    <a:pt x="157" y="522"/>
                  </a:cubicBezTo>
                  <a:cubicBezTo>
                    <a:pt x="130" y="495"/>
                    <a:pt x="89" y="491"/>
                    <a:pt x="57" y="510"/>
                  </a:cubicBezTo>
                  <a:cubicBezTo>
                    <a:pt x="40" y="481"/>
                    <a:pt x="27" y="450"/>
                    <a:pt x="19" y="417"/>
                  </a:cubicBezTo>
                  <a:cubicBezTo>
                    <a:pt x="55" y="409"/>
                    <a:pt x="81" y="377"/>
                    <a:pt x="81" y="339"/>
                  </a:cubicBezTo>
                  <a:cubicBezTo>
                    <a:pt x="81" y="301"/>
                    <a:pt x="55" y="269"/>
                    <a:pt x="19" y="261"/>
                  </a:cubicBezTo>
                  <a:cubicBezTo>
                    <a:pt x="27" y="228"/>
                    <a:pt x="40" y="197"/>
                    <a:pt x="57" y="168"/>
                  </a:cubicBezTo>
                  <a:cubicBezTo>
                    <a:pt x="89" y="188"/>
                    <a:pt x="130" y="184"/>
                    <a:pt x="157" y="157"/>
                  </a:cubicBezTo>
                  <a:cubicBezTo>
                    <a:pt x="183" y="130"/>
                    <a:pt x="188" y="89"/>
                    <a:pt x="168" y="58"/>
                  </a:cubicBezTo>
                  <a:cubicBezTo>
                    <a:pt x="197" y="40"/>
                    <a:pt x="228" y="27"/>
                    <a:pt x="261" y="19"/>
                  </a:cubicBezTo>
                  <a:cubicBezTo>
                    <a:pt x="269" y="55"/>
                    <a:pt x="301" y="82"/>
                    <a:pt x="339" y="82"/>
                  </a:cubicBezTo>
                  <a:cubicBezTo>
                    <a:pt x="377" y="82"/>
                    <a:pt x="409" y="55"/>
                    <a:pt x="417" y="19"/>
                  </a:cubicBezTo>
                  <a:cubicBezTo>
                    <a:pt x="450" y="27"/>
                    <a:pt x="481" y="40"/>
                    <a:pt x="510" y="58"/>
                  </a:cubicBezTo>
                  <a:cubicBezTo>
                    <a:pt x="490" y="89"/>
                    <a:pt x="494" y="130"/>
                    <a:pt x="521" y="157"/>
                  </a:cubicBezTo>
                  <a:cubicBezTo>
                    <a:pt x="548" y="184"/>
                    <a:pt x="589" y="188"/>
                    <a:pt x="620" y="168"/>
                  </a:cubicBezTo>
                  <a:cubicBezTo>
                    <a:pt x="638" y="197"/>
                    <a:pt x="651" y="228"/>
                    <a:pt x="659" y="261"/>
                  </a:cubicBezTo>
                  <a:cubicBezTo>
                    <a:pt x="623" y="269"/>
                    <a:pt x="597" y="301"/>
                    <a:pt x="597" y="339"/>
                  </a:cubicBezTo>
                  <a:close/>
                </a:path>
              </a:pathLst>
            </a:custGeom>
            <a:grpFill/>
            <a:ln>
              <a:solidFill>
                <a:schemeClr val="bg2">
                  <a:lumMod val="50000"/>
                </a:schemeClr>
              </a:solidFill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</p:grpSp>
      <p:sp>
        <p:nvSpPr>
          <p:cNvPr id="7" name="Textfeld 6">
            <a:extLst>
              <a:ext uri="{FF2B5EF4-FFF2-40B4-BE49-F238E27FC236}">
                <a16:creationId xmlns:a16="http://schemas.microsoft.com/office/drawing/2014/main" id="{59E6DC20-51F3-9CE0-4B3E-AAE1A859AD83}"/>
              </a:ext>
            </a:extLst>
          </p:cNvPr>
          <p:cNvSpPr txBox="1"/>
          <p:nvPr/>
        </p:nvSpPr>
        <p:spPr>
          <a:xfrm>
            <a:off x="4627844" y="3133905"/>
            <a:ext cx="2755441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 err="1"/>
              <a:t>Separ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oncerns</a:t>
            </a:r>
            <a:r>
              <a:rPr lang="de-DE" dirty="0"/>
              <a:t> führt zu einer besser strukturierten Codebasis. Vor allem bei großen Projekten von Vorteil.</a:t>
            </a:r>
            <a:endParaRPr lang="de-DE" sz="18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8" name="Titel 4">
            <a:extLst>
              <a:ext uri="{FF2B5EF4-FFF2-40B4-BE49-F238E27FC236}">
                <a16:creationId xmlns:a16="http://schemas.microsoft.com/office/drawing/2014/main" id="{6B8F9D47-F47B-CF4E-CDED-9777CBE258C6}"/>
              </a:ext>
            </a:extLst>
          </p:cNvPr>
          <p:cNvSpPr txBox="1">
            <a:spLocks/>
          </p:cNvSpPr>
          <p:nvPr/>
        </p:nvSpPr>
        <p:spPr bwMode="black">
          <a:xfrm>
            <a:off x="4702848" y="2641796"/>
            <a:ext cx="1920982" cy="5537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271" rtl="0" eaLnBrk="1" latinLnBrk="0" hangingPunct="1">
              <a:spcBef>
                <a:spcPts val="0"/>
              </a:spcBef>
              <a:buFont typeface="+mj-lt"/>
              <a:buNone/>
              <a:defRPr sz="3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800" b="1" dirty="0"/>
              <a:t>Strukturierung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E250883E-6125-7C0C-D993-C8D37D072D07}"/>
              </a:ext>
            </a:extLst>
          </p:cNvPr>
          <p:cNvSpPr txBox="1"/>
          <p:nvPr/>
        </p:nvSpPr>
        <p:spPr>
          <a:xfrm>
            <a:off x="8018886" y="3133905"/>
            <a:ext cx="2528195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Die Auftrennung von Modell, View und Controller ermöglicht es an unterschiedlichen Komponenten zu </a:t>
            </a:r>
            <a:r>
              <a:rPr lang="de-DE" dirty="0" err="1"/>
              <a:t>arbeitn</a:t>
            </a:r>
            <a:r>
              <a:rPr lang="de-DE" dirty="0"/>
              <a:t>.</a:t>
            </a:r>
            <a:endParaRPr lang="de-DE" sz="18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3" name="Titel 4">
            <a:extLst>
              <a:ext uri="{FF2B5EF4-FFF2-40B4-BE49-F238E27FC236}">
                <a16:creationId xmlns:a16="http://schemas.microsoft.com/office/drawing/2014/main" id="{C164B68D-EDD9-9DCE-EC8C-895664B64BC8}"/>
              </a:ext>
            </a:extLst>
          </p:cNvPr>
          <p:cNvSpPr txBox="1">
            <a:spLocks/>
          </p:cNvSpPr>
          <p:nvPr/>
        </p:nvSpPr>
        <p:spPr bwMode="black">
          <a:xfrm>
            <a:off x="8114794" y="2612707"/>
            <a:ext cx="1920982" cy="5537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271" rtl="0" eaLnBrk="1" latinLnBrk="0" hangingPunct="1">
              <a:spcBef>
                <a:spcPts val="0"/>
              </a:spcBef>
              <a:buFont typeface="+mj-lt"/>
              <a:buNone/>
              <a:defRPr sz="3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800" b="1" dirty="0"/>
              <a:t>Teamarbeit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95AE7002-8628-F18D-7A28-9ABE53C6712C}"/>
              </a:ext>
            </a:extLst>
          </p:cNvPr>
          <p:cNvGrpSpPr/>
          <p:nvPr/>
        </p:nvGrpSpPr>
        <p:grpSpPr>
          <a:xfrm>
            <a:off x="6700535" y="2625774"/>
            <a:ext cx="448089" cy="448087"/>
            <a:chOff x="5653088" y="690563"/>
            <a:chExt cx="247651" cy="247650"/>
          </a:xfrm>
          <a:solidFill>
            <a:srgbClr val="6F7479"/>
          </a:solidFill>
        </p:grpSpPr>
        <p:sp>
          <p:nvSpPr>
            <p:cNvPr id="18" name="Oval 138">
              <a:extLst>
                <a:ext uri="{FF2B5EF4-FFF2-40B4-BE49-F238E27FC236}">
                  <a16:creationId xmlns:a16="http://schemas.microsoft.com/office/drawing/2014/main" id="{2071E16F-6050-A34C-2607-9DB6C2F339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73726" y="912813"/>
              <a:ext cx="9525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19" name="Oval 139">
              <a:extLst>
                <a:ext uri="{FF2B5EF4-FFF2-40B4-BE49-F238E27FC236}">
                  <a16:creationId xmlns:a16="http://schemas.microsoft.com/office/drawing/2014/main" id="{E016BADD-74BD-C5E5-84C4-4FFF05C727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1188" y="912813"/>
              <a:ext cx="7938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20" name="Oval 140">
              <a:extLst>
                <a:ext uri="{FF2B5EF4-FFF2-40B4-BE49-F238E27FC236}">
                  <a16:creationId xmlns:a16="http://schemas.microsoft.com/office/drawing/2014/main" id="{3A23ACE4-72C4-CC4A-17F9-FE84358E14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7063" y="912813"/>
              <a:ext cx="7938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21" name="Oval 141">
              <a:extLst>
                <a:ext uri="{FF2B5EF4-FFF2-40B4-BE49-F238E27FC236}">
                  <a16:creationId xmlns:a16="http://schemas.microsoft.com/office/drawing/2014/main" id="{85FF32E4-BD6A-84D0-C034-1930D7DEC2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4526" y="912813"/>
              <a:ext cx="7938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22" name="Oval 142">
              <a:extLst>
                <a:ext uri="{FF2B5EF4-FFF2-40B4-BE49-F238E27FC236}">
                  <a16:creationId xmlns:a16="http://schemas.microsoft.com/office/drawing/2014/main" id="{3E87B8EF-131B-0267-5F23-AFDC81E126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40401" y="912813"/>
              <a:ext cx="7938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23" name="Oval 143">
              <a:extLst>
                <a:ext uri="{FF2B5EF4-FFF2-40B4-BE49-F238E27FC236}">
                  <a16:creationId xmlns:a16="http://schemas.microsoft.com/office/drawing/2014/main" id="{65EA55D3-F7B1-EC92-A18C-63B2818664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56276" y="912813"/>
              <a:ext cx="9525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24" name="Oval 144">
              <a:extLst>
                <a:ext uri="{FF2B5EF4-FFF2-40B4-BE49-F238E27FC236}">
                  <a16:creationId xmlns:a16="http://schemas.microsoft.com/office/drawing/2014/main" id="{E7551907-7FCA-BA0A-CC61-303BB8C1E8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73738" y="912813"/>
              <a:ext cx="7938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25" name="Oval 145">
              <a:extLst>
                <a:ext uri="{FF2B5EF4-FFF2-40B4-BE49-F238E27FC236}">
                  <a16:creationId xmlns:a16="http://schemas.microsoft.com/office/drawing/2014/main" id="{4EAF7D98-C692-4907-08F9-960520AA1D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89613" y="912813"/>
              <a:ext cx="7938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26" name="Oval 146">
              <a:extLst>
                <a:ext uri="{FF2B5EF4-FFF2-40B4-BE49-F238E27FC236}">
                  <a16:creationId xmlns:a16="http://schemas.microsoft.com/office/drawing/2014/main" id="{B379C82F-2ECC-4318-F738-C1B72AC7BD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05488" y="912813"/>
              <a:ext cx="9525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27" name="Oval 147">
              <a:extLst>
                <a:ext uri="{FF2B5EF4-FFF2-40B4-BE49-F238E27FC236}">
                  <a16:creationId xmlns:a16="http://schemas.microsoft.com/office/drawing/2014/main" id="{4B09A4D8-F7DD-905C-8851-62CAB1EDED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22951" y="912813"/>
              <a:ext cx="7938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28" name="Oval 148">
              <a:extLst>
                <a:ext uri="{FF2B5EF4-FFF2-40B4-BE49-F238E27FC236}">
                  <a16:creationId xmlns:a16="http://schemas.microsoft.com/office/drawing/2014/main" id="{7DC0F731-EB44-5799-F9A4-2FF79667B9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38826" y="912813"/>
              <a:ext cx="7938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29" name="Oval 149">
              <a:extLst>
                <a:ext uri="{FF2B5EF4-FFF2-40B4-BE49-F238E27FC236}">
                  <a16:creationId xmlns:a16="http://schemas.microsoft.com/office/drawing/2014/main" id="{4ACADA68-0ABD-0DF2-C4FC-BE768A66EB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56288" y="912813"/>
              <a:ext cx="7938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30" name="Oval 150">
              <a:extLst>
                <a:ext uri="{FF2B5EF4-FFF2-40B4-BE49-F238E27FC236}">
                  <a16:creationId xmlns:a16="http://schemas.microsoft.com/office/drawing/2014/main" id="{DA0ABA6D-2FCA-3A29-9B78-B9B9D50773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72163" y="912813"/>
              <a:ext cx="7938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31" name="Freeform 151">
              <a:extLst>
                <a:ext uri="{FF2B5EF4-FFF2-40B4-BE49-F238E27FC236}">
                  <a16:creationId xmlns:a16="http://schemas.microsoft.com/office/drawing/2014/main" id="{69E594AC-4728-776F-B4E0-1661CB6881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53088" y="896938"/>
              <a:ext cx="247650" cy="41275"/>
            </a:xfrm>
            <a:custGeom>
              <a:avLst/>
              <a:gdLst>
                <a:gd name="T0" fmla="*/ 533 w 582"/>
                <a:gd name="T1" fmla="*/ 77 h 97"/>
                <a:gd name="T2" fmla="*/ 49 w 582"/>
                <a:gd name="T3" fmla="*/ 77 h 97"/>
                <a:gd name="T4" fmla="*/ 20 w 582"/>
                <a:gd name="T5" fmla="*/ 48 h 97"/>
                <a:gd name="T6" fmla="*/ 49 w 582"/>
                <a:gd name="T7" fmla="*/ 19 h 97"/>
                <a:gd name="T8" fmla="*/ 533 w 582"/>
                <a:gd name="T9" fmla="*/ 19 h 97"/>
                <a:gd name="T10" fmla="*/ 562 w 582"/>
                <a:gd name="T11" fmla="*/ 48 h 97"/>
                <a:gd name="T12" fmla="*/ 533 w 582"/>
                <a:gd name="T13" fmla="*/ 77 h 97"/>
                <a:gd name="T14" fmla="*/ 533 w 582"/>
                <a:gd name="T15" fmla="*/ 97 h 97"/>
                <a:gd name="T16" fmla="*/ 582 w 582"/>
                <a:gd name="T17" fmla="*/ 48 h 97"/>
                <a:gd name="T18" fmla="*/ 533 w 582"/>
                <a:gd name="T19" fmla="*/ 0 h 97"/>
                <a:gd name="T20" fmla="*/ 49 w 582"/>
                <a:gd name="T21" fmla="*/ 0 h 97"/>
                <a:gd name="T22" fmla="*/ 0 w 582"/>
                <a:gd name="T23" fmla="*/ 48 h 97"/>
                <a:gd name="T24" fmla="*/ 49 w 582"/>
                <a:gd name="T25" fmla="*/ 97 h 97"/>
                <a:gd name="T26" fmla="*/ 533 w 582"/>
                <a:gd name="T27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82" h="97">
                  <a:moveTo>
                    <a:pt x="533" y="77"/>
                  </a:moveTo>
                  <a:cubicBezTo>
                    <a:pt x="49" y="77"/>
                    <a:pt x="49" y="77"/>
                    <a:pt x="49" y="77"/>
                  </a:cubicBezTo>
                  <a:cubicBezTo>
                    <a:pt x="33" y="77"/>
                    <a:pt x="20" y="64"/>
                    <a:pt x="20" y="48"/>
                  </a:cubicBezTo>
                  <a:cubicBezTo>
                    <a:pt x="20" y="32"/>
                    <a:pt x="33" y="19"/>
                    <a:pt x="49" y="19"/>
                  </a:cubicBezTo>
                  <a:cubicBezTo>
                    <a:pt x="533" y="19"/>
                    <a:pt x="533" y="19"/>
                    <a:pt x="533" y="19"/>
                  </a:cubicBezTo>
                  <a:cubicBezTo>
                    <a:pt x="549" y="19"/>
                    <a:pt x="562" y="32"/>
                    <a:pt x="562" y="48"/>
                  </a:cubicBezTo>
                  <a:cubicBezTo>
                    <a:pt x="562" y="64"/>
                    <a:pt x="549" y="77"/>
                    <a:pt x="533" y="77"/>
                  </a:cubicBezTo>
                  <a:close/>
                  <a:moveTo>
                    <a:pt x="533" y="97"/>
                  </a:moveTo>
                  <a:cubicBezTo>
                    <a:pt x="560" y="97"/>
                    <a:pt x="582" y="75"/>
                    <a:pt x="582" y="48"/>
                  </a:cubicBezTo>
                  <a:cubicBezTo>
                    <a:pt x="582" y="21"/>
                    <a:pt x="560" y="0"/>
                    <a:pt x="533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22" y="0"/>
                    <a:pt x="0" y="21"/>
                    <a:pt x="0" y="48"/>
                  </a:cubicBezTo>
                  <a:cubicBezTo>
                    <a:pt x="0" y="75"/>
                    <a:pt x="22" y="97"/>
                    <a:pt x="49" y="97"/>
                  </a:cubicBezTo>
                  <a:lnTo>
                    <a:pt x="533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32" name="Freeform 152">
              <a:extLst>
                <a:ext uri="{FF2B5EF4-FFF2-40B4-BE49-F238E27FC236}">
                  <a16:creationId xmlns:a16="http://schemas.microsoft.com/office/drawing/2014/main" id="{C873EEEF-2F83-3095-E0CA-5267E8CF4D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6126" y="757238"/>
              <a:ext cx="74613" cy="61913"/>
            </a:xfrm>
            <a:custGeom>
              <a:avLst/>
              <a:gdLst>
                <a:gd name="T0" fmla="*/ 36 w 175"/>
                <a:gd name="T1" fmla="*/ 129 h 147"/>
                <a:gd name="T2" fmla="*/ 20 w 175"/>
                <a:gd name="T3" fmla="*/ 87 h 147"/>
                <a:gd name="T4" fmla="*/ 87 w 175"/>
                <a:gd name="T5" fmla="*/ 20 h 147"/>
                <a:gd name="T6" fmla="*/ 155 w 175"/>
                <a:gd name="T7" fmla="*/ 87 h 147"/>
                <a:gd name="T8" fmla="*/ 139 w 175"/>
                <a:gd name="T9" fmla="*/ 129 h 147"/>
                <a:gd name="T10" fmla="*/ 139 w 175"/>
                <a:gd name="T11" fmla="*/ 143 h 147"/>
                <a:gd name="T12" fmla="*/ 152 w 175"/>
                <a:gd name="T13" fmla="*/ 143 h 147"/>
                <a:gd name="T14" fmla="*/ 175 w 175"/>
                <a:gd name="T15" fmla="*/ 87 h 147"/>
                <a:gd name="T16" fmla="*/ 87 w 175"/>
                <a:gd name="T17" fmla="*/ 0 h 147"/>
                <a:gd name="T18" fmla="*/ 0 w 175"/>
                <a:gd name="T19" fmla="*/ 87 h 147"/>
                <a:gd name="T20" fmla="*/ 22 w 175"/>
                <a:gd name="T21" fmla="*/ 143 h 147"/>
                <a:gd name="T22" fmla="*/ 36 w 175"/>
                <a:gd name="T23" fmla="*/ 143 h 147"/>
                <a:gd name="T24" fmla="*/ 36 w 175"/>
                <a:gd name="T25" fmla="*/ 129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5" h="147">
                  <a:moveTo>
                    <a:pt x="36" y="129"/>
                  </a:moveTo>
                  <a:cubicBezTo>
                    <a:pt x="24" y="117"/>
                    <a:pt x="20" y="107"/>
                    <a:pt x="20" y="87"/>
                  </a:cubicBezTo>
                  <a:cubicBezTo>
                    <a:pt x="20" y="50"/>
                    <a:pt x="50" y="20"/>
                    <a:pt x="87" y="20"/>
                  </a:cubicBezTo>
                  <a:cubicBezTo>
                    <a:pt x="125" y="20"/>
                    <a:pt x="155" y="50"/>
                    <a:pt x="155" y="87"/>
                  </a:cubicBezTo>
                  <a:cubicBezTo>
                    <a:pt x="155" y="106"/>
                    <a:pt x="151" y="117"/>
                    <a:pt x="139" y="129"/>
                  </a:cubicBezTo>
                  <a:cubicBezTo>
                    <a:pt x="135" y="133"/>
                    <a:pt x="135" y="139"/>
                    <a:pt x="139" y="143"/>
                  </a:cubicBezTo>
                  <a:cubicBezTo>
                    <a:pt x="143" y="147"/>
                    <a:pt x="149" y="146"/>
                    <a:pt x="152" y="143"/>
                  </a:cubicBezTo>
                  <a:cubicBezTo>
                    <a:pt x="168" y="127"/>
                    <a:pt x="175" y="111"/>
                    <a:pt x="175" y="87"/>
                  </a:cubicBezTo>
                  <a:cubicBezTo>
                    <a:pt x="175" y="39"/>
                    <a:pt x="136" y="0"/>
                    <a:pt x="87" y="0"/>
                  </a:cubicBezTo>
                  <a:cubicBezTo>
                    <a:pt x="39" y="0"/>
                    <a:pt x="0" y="39"/>
                    <a:pt x="0" y="87"/>
                  </a:cubicBezTo>
                  <a:cubicBezTo>
                    <a:pt x="0" y="112"/>
                    <a:pt x="6" y="127"/>
                    <a:pt x="22" y="143"/>
                  </a:cubicBezTo>
                  <a:cubicBezTo>
                    <a:pt x="26" y="147"/>
                    <a:pt x="32" y="146"/>
                    <a:pt x="36" y="143"/>
                  </a:cubicBezTo>
                  <a:cubicBezTo>
                    <a:pt x="40" y="139"/>
                    <a:pt x="40" y="133"/>
                    <a:pt x="36" y="1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33" name="Freeform 153">
              <a:extLst>
                <a:ext uri="{FF2B5EF4-FFF2-40B4-BE49-F238E27FC236}">
                  <a16:creationId xmlns:a16="http://schemas.microsoft.com/office/drawing/2014/main" id="{0D580D6E-9372-3142-3202-988C7EE1D324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9463" y="690563"/>
              <a:ext cx="7938" cy="74613"/>
            </a:xfrm>
            <a:custGeom>
              <a:avLst/>
              <a:gdLst>
                <a:gd name="T0" fmla="*/ 19 w 19"/>
                <a:gd name="T1" fmla="*/ 165 h 175"/>
                <a:gd name="T2" fmla="*/ 19 w 19"/>
                <a:gd name="T3" fmla="*/ 10 h 175"/>
                <a:gd name="T4" fmla="*/ 9 w 19"/>
                <a:gd name="T5" fmla="*/ 0 h 175"/>
                <a:gd name="T6" fmla="*/ 0 w 19"/>
                <a:gd name="T7" fmla="*/ 10 h 175"/>
                <a:gd name="T8" fmla="*/ 0 w 19"/>
                <a:gd name="T9" fmla="*/ 165 h 175"/>
                <a:gd name="T10" fmla="*/ 9 w 19"/>
                <a:gd name="T11" fmla="*/ 175 h 175"/>
                <a:gd name="T12" fmla="*/ 19 w 19"/>
                <a:gd name="T13" fmla="*/ 165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175">
                  <a:moveTo>
                    <a:pt x="19" y="165"/>
                  </a:moveTo>
                  <a:cubicBezTo>
                    <a:pt x="19" y="10"/>
                    <a:pt x="19" y="10"/>
                    <a:pt x="19" y="10"/>
                  </a:cubicBez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0" y="170"/>
                    <a:pt x="4" y="175"/>
                    <a:pt x="9" y="175"/>
                  </a:cubicBezTo>
                  <a:cubicBezTo>
                    <a:pt x="15" y="175"/>
                    <a:pt x="19" y="170"/>
                    <a:pt x="19" y="1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34" name="Freeform 154">
              <a:extLst>
                <a:ext uri="{FF2B5EF4-FFF2-40B4-BE49-F238E27FC236}">
                  <a16:creationId xmlns:a16="http://schemas.microsoft.com/office/drawing/2014/main" id="{289533A2-1120-4745-0917-911CEB366CB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2613" y="723901"/>
              <a:ext cx="73025" cy="61913"/>
            </a:xfrm>
            <a:custGeom>
              <a:avLst/>
              <a:gdLst>
                <a:gd name="T0" fmla="*/ 35 w 174"/>
                <a:gd name="T1" fmla="*/ 128 h 146"/>
                <a:gd name="T2" fmla="*/ 19 w 174"/>
                <a:gd name="T3" fmla="*/ 87 h 146"/>
                <a:gd name="T4" fmla="*/ 87 w 174"/>
                <a:gd name="T5" fmla="*/ 19 h 146"/>
                <a:gd name="T6" fmla="*/ 155 w 174"/>
                <a:gd name="T7" fmla="*/ 87 h 146"/>
                <a:gd name="T8" fmla="*/ 138 w 174"/>
                <a:gd name="T9" fmla="*/ 129 h 146"/>
                <a:gd name="T10" fmla="*/ 138 w 174"/>
                <a:gd name="T11" fmla="*/ 142 h 146"/>
                <a:gd name="T12" fmla="*/ 152 w 174"/>
                <a:gd name="T13" fmla="*/ 142 h 146"/>
                <a:gd name="T14" fmla="*/ 174 w 174"/>
                <a:gd name="T15" fmla="*/ 87 h 146"/>
                <a:gd name="T16" fmla="*/ 87 w 174"/>
                <a:gd name="T17" fmla="*/ 0 h 146"/>
                <a:gd name="T18" fmla="*/ 0 w 174"/>
                <a:gd name="T19" fmla="*/ 87 h 146"/>
                <a:gd name="T20" fmla="*/ 22 w 174"/>
                <a:gd name="T21" fmla="*/ 142 h 146"/>
                <a:gd name="T22" fmla="*/ 36 w 174"/>
                <a:gd name="T23" fmla="*/ 142 h 146"/>
                <a:gd name="T24" fmla="*/ 35 w 174"/>
                <a:gd name="T25" fmla="*/ 128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4" h="146">
                  <a:moveTo>
                    <a:pt x="35" y="128"/>
                  </a:moveTo>
                  <a:cubicBezTo>
                    <a:pt x="23" y="116"/>
                    <a:pt x="19" y="106"/>
                    <a:pt x="19" y="87"/>
                  </a:cubicBezTo>
                  <a:cubicBezTo>
                    <a:pt x="19" y="49"/>
                    <a:pt x="49" y="19"/>
                    <a:pt x="87" y="19"/>
                  </a:cubicBezTo>
                  <a:cubicBezTo>
                    <a:pt x="124" y="19"/>
                    <a:pt x="155" y="49"/>
                    <a:pt x="155" y="87"/>
                  </a:cubicBezTo>
                  <a:cubicBezTo>
                    <a:pt x="155" y="105"/>
                    <a:pt x="150" y="116"/>
                    <a:pt x="138" y="129"/>
                  </a:cubicBezTo>
                  <a:cubicBezTo>
                    <a:pt x="134" y="132"/>
                    <a:pt x="134" y="138"/>
                    <a:pt x="138" y="142"/>
                  </a:cubicBezTo>
                  <a:cubicBezTo>
                    <a:pt x="142" y="146"/>
                    <a:pt x="148" y="146"/>
                    <a:pt x="152" y="142"/>
                  </a:cubicBezTo>
                  <a:cubicBezTo>
                    <a:pt x="168" y="126"/>
                    <a:pt x="174" y="110"/>
                    <a:pt x="174" y="87"/>
                  </a:cubicBezTo>
                  <a:cubicBezTo>
                    <a:pt x="174" y="39"/>
                    <a:pt x="135" y="0"/>
                    <a:pt x="87" y="0"/>
                  </a:cubicBezTo>
                  <a:cubicBezTo>
                    <a:pt x="39" y="0"/>
                    <a:pt x="0" y="39"/>
                    <a:pt x="0" y="87"/>
                  </a:cubicBezTo>
                  <a:cubicBezTo>
                    <a:pt x="0" y="111"/>
                    <a:pt x="6" y="126"/>
                    <a:pt x="22" y="142"/>
                  </a:cubicBezTo>
                  <a:cubicBezTo>
                    <a:pt x="26" y="146"/>
                    <a:pt x="32" y="146"/>
                    <a:pt x="36" y="142"/>
                  </a:cubicBezTo>
                  <a:cubicBezTo>
                    <a:pt x="39" y="138"/>
                    <a:pt x="39" y="132"/>
                    <a:pt x="35" y="1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35" name="Freeform 155">
              <a:extLst>
                <a:ext uri="{FF2B5EF4-FFF2-40B4-BE49-F238E27FC236}">
                  <a16:creationId xmlns:a16="http://schemas.microsoft.com/office/drawing/2014/main" id="{876966F3-8DF1-00E5-9B5B-A23B0069F86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4363" y="690563"/>
              <a:ext cx="7938" cy="41275"/>
            </a:xfrm>
            <a:custGeom>
              <a:avLst/>
              <a:gdLst>
                <a:gd name="T0" fmla="*/ 19 w 19"/>
                <a:gd name="T1" fmla="*/ 87 h 97"/>
                <a:gd name="T2" fmla="*/ 19 w 19"/>
                <a:gd name="T3" fmla="*/ 10 h 97"/>
                <a:gd name="T4" fmla="*/ 10 w 19"/>
                <a:gd name="T5" fmla="*/ 0 h 97"/>
                <a:gd name="T6" fmla="*/ 0 w 19"/>
                <a:gd name="T7" fmla="*/ 10 h 97"/>
                <a:gd name="T8" fmla="*/ 0 w 19"/>
                <a:gd name="T9" fmla="*/ 87 h 97"/>
                <a:gd name="T10" fmla="*/ 10 w 19"/>
                <a:gd name="T11" fmla="*/ 97 h 97"/>
                <a:gd name="T12" fmla="*/ 19 w 19"/>
                <a:gd name="T13" fmla="*/ 8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97">
                  <a:moveTo>
                    <a:pt x="19" y="87"/>
                  </a:moveTo>
                  <a:cubicBezTo>
                    <a:pt x="19" y="10"/>
                    <a:pt x="19" y="10"/>
                    <a:pt x="19" y="10"/>
                  </a:cubicBez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87"/>
                    <a:pt x="0" y="87"/>
                    <a:pt x="0" y="87"/>
                  </a:cubicBezTo>
                  <a:cubicBezTo>
                    <a:pt x="0" y="93"/>
                    <a:pt x="4" y="97"/>
                    <a:pt x="10" y="97"/>
                  </a:cubicBezTo>
                  <a:cubicBezTo>
                    <a:pt x="15" y="97"/>
                    <a:pt x="19" y="93"/>
                    <a:pt x="19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36" name="Freeform 156">
              <a:extLst>
                <a:ext uri="{FF2B5EF4-FFF2-40B4-BE49-F238E27FC236}">
                  <a16:creationId xmlns:a16="http://schemas.microsoft.com/office/drawing/2014/main" id="{5311A8B7-702E-4027-6416-D0025F7DD4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62613" y="838201"/>
              <a:ext cx="65088" cy="66675"/>
            </a:xfrm>
            <a:custGeom>
              <a:avLst/>
              <a:gdLst>
                <a:gd name="T0" fmla="*/ 19 w 155"/>
                <a:gd name="T1" fmla="*/ 136 h 155"/>
                <a:gd name="T2" fmla="*/ 19 w 155"/>
                <a:gd name="T3" fmla="*/ 28 h 155"/>
                <a:gd name="T4" fmla="*/ 27 w 155"/>
                <a:gd name="T5" fmla="*/ 19 h 155"/>
                <a:gd name="T6" fmla="*/ 127 w 155"/>
                <a:gd name="T7" fmla="*/ 19 h 155"/>
                <a:gd name="T8" fmla="*/ 135 w 155"/>
                <a:gd name="T9" fmla="*/ 28 h 155"/>
                <a:gd name="T10" fmla="*/ 135 w 155"/>
                <a:gd name="T11" fmla="*/ 136 h 155"/>
                <a:gd name="T12" fmla="*/ 19 w 155"/>
                <a:gd name="T13" fmla="*/ 136 h 155"/>
                <a:gd name="T14" fmla="*/ 0 w 155"/>
                <a:gd name="T15" fmla="*/ 155 h 155"/>
                <a:gd name="T16" fmla="*/ 155 w 155"/>
                <a:gd name="T17" fmla="*/ 155 h 155"/>
                <a:gd name="T18" fmla="*/ 155 w 155"/>
                <a:gd name="T19" fmla="*/ 28 h 155"/>
                <a:gd name="T20" fmla="*/ 127 w 155"/>
                <a:gd name="T21" fmla="*/ 0 h 155"/>
                <a:gd name="T22" fmla="*/ 27 w 155"/>
                <a:gd name="T23" fmla="*/ 0 h 155"/>
                <a:gd name="T24" fmla="*/ 0 w 155"/>
                <a:gd name="T25" fmla="*/ 28 h 155"/>
                <a:gd name="T26" fmla="*/ 0 w 155"/>
                <a:gd name="T27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55">
                  <a:moveTo>
                    <a:pt x="19" y="136"/>
                  </a:moveTo>
                  <a:cubicBezTo>
                    <a:pt x="19" y="28"/>
                    <a:pt x="19" y="28"/>
                    <a:pt x="19" y="28"/>
                  </a:cubicBezTo>
                  <a:cubicBezTo>
                    <a:pt x="19" y="23"/>
                    <a:pt x="23" y="19"/>
                    <a:pt x="27" y="19"/>
                  </a:cubicBezTo>
                  <a:cubicBezTo>
                    <a:pt x="127" y="19"/>
                    <a:pt x="127" y="19"/>
                    <a:pt x="127" y="19"/>
                  </a:cubicBezTo>
                  <a:cubicBezTo>
                    <a:pt x="131" y="19"/>
                    <a:pt x="135" y="23"/>
                    <a:pt x="135" y="28"/>
                  </a:cubicBezTo>
                  <a:cubicBezTo>
                    <a:pt x="135" y="136"/>
                    <a:pt x="135" y="136"/>
                    <a:pt x="135" y="136"/>
                  </a:cubicBezTo>
                  <a:lnTo>
                    <a:pt x="19" y="136"/>
                  </a:lnTo>
                  <a:close/>
                  <a:moveTo>
                    <a:pt x="0" y="155"/>
                  </a:moveTo>
                  <a:cubicBezTo>
                    <a:pt x="155" y="155"/>
                    <a:pt x="155" y="155"/>
                    <a:pt x="155" y="155"/>
                  </a:cubicBezTo>
                  <a:cubicBezTo>
                    <a:pt x="155" y="28"/>
                    <a:pt x="155" y="28"/>
                    <a:pt x="155" y="28"/>
                  </a:cubicBezTo>
                  <a:cubicBezTo>
                    <a:pt x="155" y="12"/>
                    <a:pt x="142" y="0"/>
                    <a:pt x="127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12" y="0"/>
                    <a:pt x="0" y="12"/>
                    <a:pt x="0" y="28"/>
                  </a:cubicBezTo>
                  <a:lnTo>
                    <a:pt x="0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37" name="Freeform 157">
              <a:extLst>
                <a:ext uri="{FF2B5EF4-FFF2-40B4-BE49-F238E27FC236}">
                  <a16:creationId xmlns:a16="http://schemas.microsoft.com/office/drawing/2014/main" id="{CC5B9B6B-3920-9DCB-639A-A13236987A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43576" y="838201"/>
              <a:ext cx="66675" cy="66675"/>
            </a:xfrm>
            <a:custGeom>
              <a:avLst/>
              <a:gdLst>
                <a:gd name="T0" fmla="*/ 20 w 155"/>
                <a:gd name="T1" fmla="*/ 136 h 155"/>
                <a:gd name="T2" fmla="*/ 20 w 155"/>
                <a:gd name="T3" fmla="*/ 28 h 155"/>
                <a:gd name="T4" fmla="*/ 28 w 155"/>
                <a:gd name="T5" fmla="*/ 19 h 155"/>
                <a:gd name="T6" fmla="*/ 128 w 155"/>
                <a:gd name="T7" fmla="*/ 19 h 155"/>
                <a:gd name="T8" fmla="*/ 136 w 155"/>
                <a:gd name="T9" fmla="*/ 28 h 155"/>
                <a:gd name="T10" fmla="*/ 136 w 155"/>
                <a:gd name="T11" fmla="*/ 136 h 155"/>
                <a:gd name="T12" fmla="*/ 20 w 155"/>
                <a:gd name="T13" fmla="*/ 136 h 155"/>
                <a:gd name="T14" fmla="*/ 0 w 155"/>
                <a:gd name="T15" fmla="*/ 155 h 155"/>
                <a:gd name="T16" fmla="*/ 155 w 155"/>
                <a:gd name="T17" fmla="*/ 155 h 155"/>
                <a:gd name="T18" fmla="*/ 155 w 155"/>
                <a:gd name="T19" fmla="*/ 28 h 155"/>
                <a:gd name="T20" fmla="*/ 128 w 155"/>
                <a:gd name="T21" fmla="*/ 0 h 155"/>
                <a:gd name="T22" fmla="*/ 28 w 155"/>
                <a:gd name="T23" fmla="*/ 0 h 155"/>
                <a:gd name="T24" fmla="*/ 0 w 155"/>
                <a:gd name="T25" fmla="*/ 28 h 155"/>
                <a:gd name="T26" fmla="*/ 0 w 155"/>
                <a:gd name="T27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55">
                  <a:moveTo>
                    <a:pt x="20" y="136"/>
                  </a:moveTo>
                  <a:cubicBezTo>
                    <a:pt x="20" y="28"/>
                    <a:pt x="20" y="28"/>
                    <a:pt x="20" y="28"/>
                  </a:cubicBezTo>
                  <a:cubicBezTo>
                    <a:pt x="20" y="23"/>
                    <a:pt x="24" y="19"/>
                    <a:pt x="28" y="19"/>
                  </a:cubicBezTo>
                  <a:cubicBezTo>
                    <a:pt x="128" y="19"/>
                    <a:pt x="128" y="19"/>
                    <a:pt x="128" y="19"/>
                  </a:cubicBezTo>
                  <a:cubicBezTo>
                    <a:pt x="132" y="19"/>
                    <a:pt x="136" y="23"/>
                    <a:pt x="136" y="28"/>
                  </a:cubicBezTo>
                  <a:cubicBezTo>
                    <a:pt x="136" y="136"/>
                    <a:pt x="136" y="136"/>
                    <a:pt x="136" y="136"/>
                  </a:cubicBezTo>
                  <a:lnTo>
                    <a:pt x="20" y="136"/>
                  </a:lnTo>
                  <a:close/>
                  <a:moveTo>
                    <a:pt x="0" y="155"/>
                  </a:moveTo>
                  <a:cubicBezTo>
                    <a:pt x="155" y="155"/>
                    <a:pt x="155" y="155"/>
                    <a:pt x="155" y="155"/>
                  </a:cubicBezTo>
                  <a:cubicBezTo>
                    <a:pt x="155" y="28"/>
                    <a:pt x="155" y="28"/>
                    <a:pt x="155" y="28"/>
                  </a:cubicBezTo>
                  <a:cubicBezTo>
                    <a:pt x="155" y="12"/>
                    <a:pt x="143" y="0"/>
                    <a:pt x="12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3" y="0"/>
                    <a:pt x="0" y="12"/>
                    <a:pt x="0" y="28"/>
                  </a:cubicBezTo>
                  <a:lnTo>
                    <a:pt x="0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38" name="Freeform 158">
              <a:extLst>
                <a:ext uri="{FF2B5EF4-FFF2-40B4-BE49-F238E27FC236}">
                  <a16:creationId xmlns:a16="http://schemas.microsoft.com/office/drawing/2014/main" id="{1DB63D3C-D35A-9362-6E6B-99955AD621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6126" y="838201"/>
              <a:ext cx="66675" cy="66675"/>
            </a:xfrm>
            <a:custGeom>
              <a:avLst/>
              <a:gdLst>
                <a:gd name="T0" fmla="*/ 136 w 155"/>
                <a:gd name="T1" fmla="*/ 136 h 155"/>
                <a:gd name="T2" fmla="*/ 20 w 155"/>
                <a:gd name="T3" fmla="*/ 136 h 155"/>
                <a:gd name="T4" fmla="*/ 20 w 155"/>
                <a:gd name="T5" fmla="*/ 28 h 155"/>
                <a:gd name="T6" fmla="*/ 28 w 155"/>
                <a:gd name="T7" fmla="*/ 19 h 155"/>
                <a:gd name="T8" fmla="*/ 127 w 155"/>
                <a:gd name="T9" fmla="*/ 19 h 155"/>
                <a:gd name="T10" fmla="*/ 136 w 155"/>
                <a:gd name="T11" fmla="*/ 28 h 155"/>
                <a:gd name="T12" fmla="*/ 136 w 155"/>
                <a:gd name="T13" fmla="*/ 136 h 155"/>
                <a:gd name="T14" fmla="*/ 0 w 155"/>
                <a:gd name="T15" fmla="*/ 155 h 155"/>
                <a:gd name="T16" fmla="*/ 155 w 155"/>
                <a:gd name="T17" fmla="*/ 155 h 155"/>
                <a:gd name="T18" fmla="*/ 155 w 155"/>
                <a:gd name="T19" fmla="*/ 28 h 155"/>
                <a:gd name="T20" fmla="*/ 127 w 155"/>
                <a:gd name="T21" fmla="*/ 0 h 155"/>
                <a:gd name="T22" fmla="*/ 28 w 155"/>
                <a:gd name="T23" fmla="*/ 0 h 155"/>
                <a:gd name="T24" fmla="*/ 0 w 155"/>
                <a:gd name="T25" fmla="*/ 28 h 155"/>
                <a:gd name="T26" fmla="*/ 0 w 155"/>
                <a:gd name="T27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55">
                  <a:moveTo>
                    <a:pt x="136" y="136"/>
                  </a:moveTo>
                  <a:cubicBezTo>
                    <a:pt x="20" y="136"/>
                    <a:pt x="20" y="136"/>
                    <a:pt x="20" y="136"/>
                  </a:cubicBezTo>
                  <a:cubicBezTo>
                    <a:pt x="20" y="28"/>
                    <a:pt x="20" y="28"/>
                    <a:pt x="20" y="28"/>
                  </a:cubicBezTo>
                  <a:cubicBezTo>
                    <a:pt x="20" y="23"/>
                    <a:pt x="23" y="19"/>
                    <a:pt x="28" y="19"/>
                  </a:cubicBezTo>
                  <a:cubicBezTo>
                    <a:pt x="127" y="19"/>
                    <a:pt x="127" y="19"/>
                    <a:pt x="127" y="19"/>
                  </a:cubicBezTo>
                  <a:cubicBezTo>
                    <a:pt x="132" y="19"/>
                    <a:pt x="136" y="23"/>
                    <a:pt x="136" y="28"/>
                  </a:cubicBezTo>
                  <a:lnTo>
                    <a:pt x="136" y="136"/>
                  </a:lnTo>
                  <a:close/>
                  <a:moveTo>
                    <a:pt x="0" y="155"/>
                  </a:moveTo>
                  <a:cubicBezTo>
                    <a:pt x="155" y="155"/>
                    <a:pt x="155" y="155"/>
                    <a:pt x="155" y="155"/>
                  </a:cubicBezTo>
                  <a:cubicBezTo>
                    <a:pt x="155" y="28"/>
                    <a:pt x="155" y="28"/>
                    <a:pt x="155" y="28"/>
                  </a:cubicBezTo>
                  <a:cubicBezTo>
                    <a:pt x="155" y="12"/>
                    <a:pt x="143" y="0"/>
                    <a:pt x="127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3" y="0"/>
                    <a:pt x="0" y="12"/>
                    <a:pt x="0" y="28"/>
                  </a:cubicBezTo>
                  <a:lnTo>
                    <a:pt x="0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</p:grpSp>
      <p:sp>
        <p:nvSpPr>
          <p:cNvPr id="39" name="Freeform 484">
            <a:extLst>
              <a:ext uri="{FF2B5EF4-FFF2-40B4-BE49-F238E27FC236}">
                <a16:creationId xmlns:a16="http://schemas.microsoft.com/office/drawing/2014/main" id="{D2752AA9-F1D0-41DC-D95B-CDDC1069C34C}"/>
              </a:ext>
            </a:extLst>
          </p:cNvPr>
          <p:cNvSpPr>
            <a:spLocks noEditPoints="1"/>
          </p:cNvSpPr>
          <p:nvPr/>
        </p:nvSpPr>
        <p:spPr bwMode="auto">
          <a:xfrm>
            <a:off x="9847868" y="2612707"/>
            <a:ext cx="474222" cy="474222"/>
          </a:xfrm>
          <a:custGeom>
            <a:avLst/>
            <a:gdLst>
              <a:gd name="T0" fmla="*/ 529 w 547"/>
              <a:gd name="T1" fmla="*/ 362 h 547"/>
              <a:gd name="T2" fmla="*/ 432 w 547"/>
              <a:gd name="T3" fmla="*/ 452 h 547"/>
              <a:gd name="T4" fmla="*/ 282 w 547"/>
              <a:gd name="T5" fmla="*/ 362 h 547"/>
              <a:gd name="T6" fmla="*/ 300 w 547"/>
              <a:gd name="T7" fmla="*/ 267 h 547"/>
              <a:gd name="T8" fmla="*/ 468 w 547"/>
              <a:gd name="T9" fmla="*/ 194 h 547"/>
              <a:gd name="T10" fmla="*/ 485 w 547"/>
              <a:gd name="T11" fmla="*/ 214 h 547"/>
              <a:gd name="T12" fmla="*/ 496 w 547"/>
              <a:gd name="T13" fmla="*/ 159 h 547"/>
              <a:gd name="T14" fmla="*/ 450 w 547"/>
              <a:gd name="T15" fmla="*/ 141 h 547"/>
              <a:gd name="T16" fmla="*/ 237 w 547"/>
              <a:gd name="T17" fmla="*/ 46 h 547"/>
              <a:gd name="T18" fmla="*/ 52 w 547"/>
              <a:gd name="T19" fmla="*/ 141 h 547"/>
              <a:gd name="T20" fmla="*/ 83 w 547"/>
              <a:gd name="T21" fmla="*/ 159 h 547"/>
              <a:gd name="T22" fmla="*/ 44 w 547"/>
              <a:gd name="T23" fmla="*/ 238 h 547"/>
              <a:gd name="T24" fmla="*/ 133 w 547"/>
              <a:gd name="T25" fmla="*/ 194 h 547"/>
              <a:gd name="T26" fmla="*/ 217 w 547"/>
              <a:gd name="T27" fmla="*/ 276 h 547"/>
              <a:gd name="T28" fmla="*/ 265 w 547"/>
              <a:gd name="T29" fmla="*/ 478 h 547"/>
              <a:gd name="T30" fmla="*/ 115 w 547"/>
              <a:gd name="T31" fmla="*/ 443 h 547"/>
              <a:gd name="T32" fmla="*/ 36 w 547"/>
              <a:gd name="T33" fmla="*/ 403 h 547"/>
              <a:gd name="T34" fmla="*/ 0 w 547"/>
              <a:gd name="T35" fmla="*/ 538 h 547"/>
              <a:gd name="T36" fmla="*/ 240 w 547"/>
              <a:gd name="T37" fmla="*/ 520 h 547"/>
              <a:gd name="T38" fmla="*/ 379 w 547"/>
              <a:gd name="T39" fmla="*/ 547 h 547"/>
              <a:gd name="T40" fmla="*/ 476 w 547"/>
              <a:gd name="T41" fmla="*/ 247 h 547"/>
              <a:gd name="T42" fmla="*/ 520 w 547"/>
              <a:gd name="T43" fmla="*/ 141 h 547"/>
              <a:gd name="T44" fmla="*/ 27 w 547"/>
              <a:gd name="T45" fmla="*/ 159 h 547"/>
              <a:gd name="T46" fmla="*/ 71 w 547"/>
              <a:gd name="T47" fmla="*/ 247 h 547"/>
              <a:gd name="T48" fmla="*/ 344 w 547"/>
              <a:gd name="T49" fmla="*/ 318 h 547"/>
              <a:gd name="T50" fmla="*/ 325 w 547"/>
              <a:gd name="T51" fmla="*/ 292 h 547"/>
              <a:gd name="T52" fmla="*/ 133 w 547"/>
              <a:gd name="T53" fmla="*/ 106 h 547"/>
              <a:gd name="T54" fmla="*/ 203 w 547"/>
              <a:gd name="T55" fmla="*/ 53 h 547"/>
              <a:gd name="T56" fmla="*/ 371 w 547"/>
              <a:gd name="T57" fmla="*/ 80 h 547"/>
              <a:gd name="T58" fmla="*/ 432 w 547"/>
              <a:gd name="T59" fmla="*/ 141 h 547"/>
              <a:gd name="T60" fmla="*/ 226 w 547"/>
              <a:gd name="T61" fmla="*/ 177 h 547"/>
              <a:gd name="T62" fmla="*/ 326 w 547"/>
              <a:gd name="T63" fmla="*/ 182 h 547"/>
              <a:gd name="T64" fmla="*/ 270 w 547"/>
              <a:gd name="T65" fmla="*/ 160 h 547"/>
              <a:gd name="T66" fmla="*/ 309 w 547"/>
              <a:gd name="T67" fmla="*/ 194 h 547"/>
              <a:gd name="T68" fmla="*/ 274 w 547"/>
              <a:gd name="T69" fmla="*/ 265 h 547"/>
              <a:gd name="T70" fmla="*/ 274 w 547"/>
              <a:gd name="T71" fmla="*/ 305 h 547"/>
              <a:gd name="T72" fmla="*/ 274 w 547"/>
              <a:gd name="T73" fmla="*/ 265 h 547"/>
              <a:gd name="T74" fmla="*/ 265 w 547"/>
              <a:gd name="T75" fmla="*/ 344 h 547"/>
              <a:gd name="T76" fmla="*/ 36 w 547"/>
              <a:gd name="T77" fmla="*/ 362 h 547"/>
              <a:gd name="T78" fmla="*/ 106 w 547"/>
              <a:gd name="T79" fmla="*/ 362 h 547"/>
              <a:gd name="T80" fmla="*/ 53 w 547"/>
              <a:gd name="T81" fmla="*/ 377 h 547"/>
              <a:gd name="T82" fmla="*/ 88 w 547"/>
              <a:gd name="T83" fmla="*/ 432 h 547"/>
              <a:gd name="T84" fmla="*/ 97 w 547"/>
              <a:gd name="T85" fmla="*/ 459 h 547"/>
              <a:gd name="T86" fmla="*/ 73 w 547"/>
              <a:gd name="T87" fmla="*/ 467 h 547"/>
              <a:gd name="T88" fmla="*/ 37 w 547"/>
              <a:gd name="T89" fmla="*/ 478 h 547"/>
              <a:gd name="T90" fmla="*/ 18 w 547"/>
              <a:gd name="T91" fmla="*/ 503 h 547"/>
              <a:gd name="T92" fmla="*/ 140 w 547"/>
              <a:gd name="T93" fmla="*/ 478 h 547"/>
              <a:gd name="T94" fmla="*/ 274 w 547"/>
              <a:gd name="T95" fmla="*/ 494 h 547"/>
              <a:gd name="T96" fmla="*/ 406 w 547"/>
              <a:gd name="T97" fmla="*/ 362 h 547"/>
              <a:gd name="T98" fmla="*/ 476 w 547"/>
              <a:gd name="T99" fmla="*/ 362 h 547"/>
              <a:gd name="T100" fmla="*/ 423 w 547"/>
              <a:gd name="T101" fmla="*/ 377 h 547"/>
              <a:gd name="T102" fmla="*/ 459 w 547"/>
              <a:gd name="T103" fmla="*/ 432 h 547"/>
              <a:gd name="T104" fmla="*/ 468 w 547"/>
              <a:gd name="T105" fmla="*/ 459 h 547"/>
              <a:gd name="T106" fmla="*/ 443 w 547"/>
              <a:gd name="T107" fmla="*/ 467 h 547"/>
              <a:gd name="T108" fmla="*/ 407 w 547"/>
              <a:gd name="T109" fmla="*/ 478 h 547"/>
              <a:gd name="T110" fmla="*/ 388 w 547"/>
              <a:gd name="T111" fmla="*/ 503 h 547"/>
              <a:gd name="T112" fmla="*/ 510 w 547"/>
              <a:gd name="T113" fmla="*/ 478 h 5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547" h="547">
                <a:moveTo>
                  <a:pt x="515" y="461"/>
                </a:moveTo>
                <a:cubicBezTo>
                  <a:pt x="485" y="452"/>
                  <a:pt x="485" y="452"/>
                  <a:pt x="485" y="452"/>
                </a:cubicBezTo>
                <a:cubicBezTo>
                  <a:pt x="485" y="443"/>
                  <a:pt x="485" y="443"/>
                  <a:pt x="485" y="443"/>
                </a:cubicBezTo>
                <a:cubicBezTo>
                  <a:pt x="499" y="435"/>
                  <a:pt x="509" y="420"/>
                  <a:pt x="511" y="403"/>
                </a:cubicBezTo>
                <a:cubicBezTo>
                  <a:pt x="523" y="392"/>
                  <a:pt x="529" y="377"/>
                  <a:pt x="529" y="362"/>
                </a:cubicBezTo>
                <a:cubicBezTo>
                  <a:pt x="529" y="328"/>
                  <a:pt x="498" y="300"/>
                  <a:pt x="459" y="300"/>
                </a:cubicBezTo>
                <a:cubicBezTo>
                  <a:pt x="420" y="300"/>
                  <a:pt x="388" y="328"/>
                  <a:pt x="388" y="362"/>
                </a:cubicBezTo>
                <a:cubicBezTo>
                  <a:pt x="388" y="377"/>
                  <a:pt x="395" y="392"/>
                  <a:pt x="406" y="403"/>
                </a:cubicBezTo>
                <a:cubicBezTo>
                  <a:pt x="408" y="420"/>
                  <a:pt x="418" y="435"/>
                  <a:pt x="432" y="443"/>
                </a:cubicBezTo>
                <a:cubicBezTo>
                  <a:pt x="432" y="452"/>
                  <a:pt x="432" y="452"/>
                  <a:pt x="432" y="452"/>
                </a:cubicBezTo>
                <a:cubicBezTo>
                  <a:pt x="403" y="461"/>
                  <a:pt x="403" y="461"/>
                  <a:pt x="403" y="461"/>
                </a:cubicBezTo>
                <a:cubicBezTo>
                  <a:pt x="384" y="466"/>
                  <a:pt x="371" y="483"/>
                  <a:pt x="371" y="503"/>
                </a:cubicBezTo>
                <a:cubicBezTo>
                  <a:pt x="308" y="503"/>
                  <a:pt x="308" y="503"/>
                  <a:pt x="308" y="503"/>
                </a:cubicBezTo>
                <a:cubicBezTo>
                  <a:pt x="304" y="491"/>
                  <a:pt x="295" y="481"/>
                  <a:pt x="282" y="478"/>
                </a:cubicBezTo>
                <a:cubicBezTo>
                  <a:pt x="282" y="362"/>
                  <a:pt x="282" y="362"/>
                  <a:pt x="282" y="362"/>
                </a:cubicBezTo>
                <a:cubicBezTo>
                  <a:pt x="353" y="362"/>
                  <a:pt x="353" y="362"/>
                  <a:pt x="353" y="362"/>
                </a:cubicBezTo>
                <a:cubicBezTo>
                  <a:pt x="358" y="362"/>
                  <a:pt x="362" y="358"/>
                  <a:pt x="362" y="353"/>
                </a:cubicBezTo>
                <a:cubicBezTo>
                  <a:pt x="362" y="318"/>
                  <a:pt x="362" y="318"/>
                  <a:pt x="362" y="318"/>
                </a:cubicBezTo>
                <a:cubicBezTo>
                  <a:pt x="362" y="298"/>
                  <a:pt x="349" y="281"/>
                  <a:pt x="330" y="276"/>
                </a:cubicBezTo>
                <a:cubicBezTo>
                  <a:pt x="300" y="267"/>
                  <a:pt x="300" y="267"/>
                  <a:pt x="300" y="267"/>
                </a:cubicBezTo>
                <a:cubicBezTo>
                  <a:pt x="300" y="258"/>
                  <a:pt x="300" y="258"/>
                  <a:pt x="300" y="258"/>
                </a:cubicBezTo>
                <a:cubicBezTo>
                  <a:pt x="314" y="249"/>
                  <a:pt x="324" y="235"/>
                  <a:pt x="326" y="218"/>
                </a:cubicBezTo>
                <a:cubicBezTo>
                  <a:pt x="333" y="211"/>
                  <a:pt x="338" y="203"/>
                  <a:pt x="341" y="194"/>
                </a:cubicBezTo>
                <a:cubicBezTo>
                  <a:pt x="397" y="194"/>
                  <a:pt x="397" y="194"/>
                  <a:pt x="397" y="194"/>
                </a:cubicBezTo>
                <a:cubicBezTo>
                  <a:pt x="468" y="194"/>
                  <a:pt x="468" y="194"/>
                  <a:pt x="468" y="194"/>
                </a:cubicBezTo>
                <a:cubicBezTo>
                  <a:pt x="468" y="214"/>
                  <a:pt x="468" y="214"/>
                  <a:pt x="468" y="214"/>
                </a:cubicBezTo>
                <a:cubicBezTo>
                  <a:pt x="457" y="217"/>
                  <a:pt x="450" y="227"/>
                  <a:pt x="450" y="238"/>
                </a:cubicBezTo>
                <a:cubicBezTo>
                  <a:pt x="450" y="253"/>
                  <a:pt x="462" y="265"/>
                  <a:pt x="476" y="265"/>
                </a:cubicBezTo>
                <a:cubicBezTo>
                  <a:pt x="491" y="265"/>
                  <a:pt x="503" y="253"/>
                  <a:pt x="503" y="238"/>
                </a:cubicBezTo>
                <a:cubicBezTo>
                  <a:pt x="503" y="227"/>
                  <a:pt x="495" y="217"/>
                  <a:pt x="485" y="214"/>
                </a:cubicBezTo>
                <a:cubicBezTo>
                  <a:pt x="485" y="186"/>
                  <a:pt x="485" y="186"/>
                  <a:pt x="485" y="186"/>
                </a:cubicBezTo>
                <a:cubicBezTo>
                  <a:pt x="485" y="181"/>
                  <a:pt x="481" y="177"/>
                  <a:pt x="476" y="177"/>
                </a:cubicBezTo>
                <a:cubicBezTo>
                  <a:pt x="436" y="177"/>
                  <a:pt x="436" y="177"/>
                  <a:pt x="436" y="177"/>
                </a:cubicBezTo>
                <a:cubicBezTo>
                  <a:pt x="441" y="172"/>
                  <a:pt x="444" y="166"/>
                  <a:pt x="447" y="159"/>
                </a:cubicBezTo>
                <a:cubicBezTo>
                  <a:pt x="496" y="159"/>
                  <a:pt x="496" y="159"/>
                  <a:pt x="496" y="159"/>
                </a:cubicBezTo>
                <a:cubicBezTo>
                  <a:pt x="499" y="169"/>
                  <a:pt x="509" y="177"/>
                  <a:pt x="520" y="177"/>
                </a:cubicBezTo>
                <a:cubicBezTo>
                  <a:pt x="535" y="177"/>
                  <a:pt x="547" y="165"/>
                  <a:pt x="547" y="150"/>
                </a:cubicBezTo>
                <a:cubicBezTo>
                  <a:pt x="547" y="136"/>
                  <a:pt x="535" y="124"/>
                  <a:pt x="520" y="124"/>
                </a:cubicBezTo>
                <a:cubicBezTo>
                  <a:pt x="509" y="124"/>
                  <a:pt x="499" y="131"/>
                  <a:pt x="496" y="141"/>
                </a:cubicBezTo>
                <a:cubicBezTo>
                  <a:pt x="450" y="141"/>
                  <a:pt x="450" y="141"/>
                  <a:pt x="450" y="141"/>
                </a:cubicBezTo>
                <a:cubicBezTo>
                  <a:pt x="450" y="112"/>
                  <a:pt x="426" y="89"/>
                  <a:pt x="397" y="89"/>
                </a:cubicBezTo>
                <a:cubicBezTo>
                  <a:pt x="394" y="89"/>
                  <a:pt x="391" y="89"/>
                  <a:pt x="388" y="89"/>
                </a:cubicBezTo>
                <a:cubicBezTo>
                  <a:pt x="388" y="86"/>
                  <a:pt x="388" y="83"/>
                  <a:pt x="388" y="80"/>
                </a:cubicBezTo>
                <a:cubicBezTo>
                  <a:pt x="388" y="36"/>
                  <a:pt x="353" y="0"/>
                  <a:pt x="309" y="0"/>
                </a:cubicBezTo>
                <a:cubicBezTo>
                  <a:pt x="278" y="0"/>
                  <a:pt x="250" y="19"/>
                  <a:pt x="237" y="46"/>
                </a:cubicBezTo>
                <a:cubicBezTo>
                  <a:pt x="227" y="39"/>
                  <a:pt x="215" y="36"/>
                  <a:pt x="203" y="36"/>
                </a:cubicBezTo>
                <a:cubicBezTo>
                  <a:pt x="172" y="36"/>
                  <a:pt x="146" y="59"/>
                  <a:pt x="142" y="89"/>
                </a:cubicBezTo>
                <a:cubicBezTo>
                  <a:pt x="139" y="89"/>
                  <a:pt x="136" y="89"/>
                  <a:pt x="133" y="89"/>
                </a:cubicBezTo>
                <a:cubicBezTo>
                  <a:pt x="103" y="89"/>
                  <a:pt x="80" y="112"/>
                  <a:pt x="80" y="141"/>
                </a:cubicBezTo>
                <a:cubicBezTo>
                  <a:pt x="52" y="141"/>
                  <a:pt x="52" y="141"/>
                  <a:pt x="52" y="141"/>
                </a:cubicBezTo>
                <a:cubicBezTo>
                  <a:pt x="48" y="131"/>
                  <a:pt x="38" y="124"/>
                  <a:pt x="27" y="124"/>
                </a:cubicBezTo>
                <a:cubicBezTo>
                  <a:pt x="12" y="124"/>
                  <a:pt x="0" y="136"/>
                  <a:pt x="0" y="150"/>
                </a:cubicBezTo>
                <a:cubicBezTo>
                  <a:pt x="0" y="165"/>
                  <a:pt x="12" y="177"/>
                  <a:pt x="27" y="177"/>
                </a:cubicBezTo>
                <a:cubicBezTo>
                  <a:pt x="38" y="177"/>
                  <a:pt x="48" y="169"/>
                  <a:pt x="52" y="159"/>
                </a:cubicBezTo>
                <a:cubicBezTo>
                  <a:pt x="83" y="159"/>
                  <a:pt x="83" y="159"/>
                  <a:pt x="83" y="159"/>
                </a:cubicBezTo>
                <a:cubicBezTo>
                  <a:pt x="85" y="166"/>
                  <a:pt x="89" y="172"/>
                  <a:pt x="93" y="177"/>
                </a:cubicBezTo>
                <a:cubicBezTo>
                  <a:pt x="71" y="177"/>
                  <a:pt x="71" y="177"/>
                  <a:pt x="71" y="177"/>
                </a:cubicBezTo>
                <a:cubicBezTo>
                  <a:pt x="66" y="177"/>
                  <a:pt x="62" y="181"/>
                  <a:pt x="62" y="186"/>
                </a:cubicBezTo>
                <a:cubicBezTo>
                  <a:pt x="62" y="214"/>
                  <a:pt x="62" y="214"/>
                  <a:pt x="62" y="214"/>
                </a:cubicBezTo>
                <a:cubicBezTo>
                  <a:pt x="52" y="217"/>
                  <a:pt x="44" y="227"/>
                  <a:pt x="44" y="238"/>
                </a:cubicBezTo>
                <a:cubicBezTo>
                  <a:pt x="44" y="253"/>
                  <a:pt x="56" y="265"/>
                  <a:pt x="71" y="265"/>
                </a:cubicBezTo>
                <a:cubicBezTo>
                  <a:pt x="85" y="265"/>
                  <a:pt x="97" y="253"/>
                  <a:pt x="97" y="238"/>
                </a:cubicBezTo>
                <a:cubicBezTo>
                  <a:pt x="97" y="227"/>
                  <a:pt x="90" y="217"/>
                  <a:pt x="80" y="214"/>
                </a:cubicBezTo>
                <a:cubicBezTo>
                  <a:pt x="80" y="194"/>
                  <a:pt x="80" y="194"/>
                  <a:pt x="80" y="194"/>
                </a:cubicBezTo>
                <a:cubicBezTo>
                  <a:pt x="133" y="194"/>
                  <a:pt x="133" y="194"/>
                  <a:pt x="133" y="194"/>
                </a:cubicBezTo>
                <a:cubicBezTo>
                  <a:pt x="206" y="194"/>
                  <a:pt x="206" y="194"/>
                  <a:pt x="206" y="194"/>
                </a:cubicBezTo>
                <a:cubicBezTo>
                  <a:pt x="209" y="203"/>
                  <a:pt x="214" y="211"/>
                  <a:pt x="221" y="218"/>
                </a:cubicBezTo>
                <a:cubicBezTo>
                  <a:pt x="223" y="235"/>
                  <a:pt x="233" y="249"/>
                  <a:pt x="247" y="258"/>
                </a:cubicBezTo>
                <a:cubicBezTo>
                  <a:pt x="247" y="267"/>
                  <a:pt x="247" y="267"/>
                  <a:pt x="247" y="267"/>
                </a:cubicBezTo>
                <a:cubicBezTo>
                  <a:pt x="217" y="276"/>
                  <a:pt x="217" y="276"/>
                  <a:pt x="217" y="276"/>
                </a:cubicBezTo>
                <a:cubicBezTo>
                  <a:pt x="199" y="281"/>
                  <a:pt x="185" y="298"/>
                  <a:pt x="185" y="318"/>
                </a:cubicBezTo>
                <a:cubicBezTo>
                  <a:pt x="185" y="353"/>
                  <a:pt x="185" y="353"/>
                  <a:pt x="185" y="353"/>
                </a:cubicBezTo>
                <a:cubicBezTo>
                  <a:pt x="185" y="358"/>
                  <a:pt x="189" y="362"/>
                  <a:pt x="194" y="362"/>
                </a:cubicBezTo>
                <a:cubicBezTo>
                  <a:pt x="265" y="362"/>
                  <a:pt x="265" y="362"/>
                  <a:pt x="265" y="362"/>
                </a:cubicBezTo>
                <a:cubicBezTo>
                  <a:pt x="265" y="478"/>
                  <a:pt x="265" y="478"/>
                  <a:pt x="265" y="478"/>
                </a:cubicBezTo>
                <a:cubicBezTo>
                  <a:pt x="252" y="481"/>
                  <a:pt x="243" y="491"/>
                  <a:pt x="240" y="503"/>
                </a:cubicBezTo>
                <a:cubicBezTo>
                  <a:pt x="177" y="503"/>
                  <a:pt x="177" y="503"/>
                  <a:pt x="177" y="503"/>
                </a:cubicBezTo>
                <a:cubicBezTo>
                  <a:pt x="177" y="483"/>
                  <a:pt x="163" y="466"/>
                  <a:pt x="145" y="461"/>
                </a:cubicBezTo>
                <a:cubicBezTo>
                  <a:pt x="115" y="452"/>
                  <a:pt x="115" y="452"/>
                  <a:pt x="115" y="452"/>
                </a:cubicBezTo>
                <a:cubicBezTo>
                  <a:pt x="115" y="443"/>
                  <a:pt x="115" y="443"/>
                  <a:pt x="115" y="443"/>
                </a:cubicBezTo>
                <a:cubicBezTo>
                  <a:pt x="129" y="435"/>
                  <a:pt x="139" y="420"/>
                  <a:pt x="141" y="403"/>
                </a:cubicBezTo>
                <a:cubicBezTo>
                  <a:pt x="153" y="392"/>
                  <a:pt x="159" y="377"/>
                  <a:pt x="159" y="362"/>
                </a:cubicBezTo>
                <a:cubicBezTo>
                  <a:pt x="159" y="328"/>
                  <a:pt x="127" y="300"/>
                  <a:pt x="88" y="300"/>
                </a:cubicBezTo>
                <a:cubicBezTo>
                  <a:pt x="50" y="300"/>
                  <a:pt x="18" y="328"/>
                  <a:pt x="18" y="362"/>
                </a:cubicBezTo>
                <a:cubicBezTo>
                  <a:pt x="18" y="377"/>
                  <a:pt x="24" y="392"/>
                  <a:pt x="36" y="403"/>
                </a:cubicBezTo>
                <a:cubicBezTo>
                  <a:pt x="38" y="420"/>
                  <a:pt x="48" y="435"/>
                  <a:pt x="62" y="443"/>
                </a:cubicBezTo>
                <a:cubicBezTo>
                  <a:pt x="62" y="452"/>
                  <a:pt x="62" y="452"/>
                  <a:pt x="62" y="452"/>
                </a:cubicBezTo>
                <a:cubicBezTo>
                  <a:pt x="32" y="461"/>
                  <a:pt x="32" y="461"/>
                  <a:pt x="32" y="461"/>
                </a:cubicBezTo>
                <a:cubicBezTo>
                  <a:pt x="13" y="466"/>
                  <a:pt x="0" y="483"/>
                  <a:pt x="0" y="503"/>
                </a:cubicBezTo>
                <a:cubicBezTo>
                  <a:pt x="0" y="538"/>
                  <a:pt x="0" y="538"/>
                  <a:pt x="0" y="538"/>
                </a:cubicBezTo>
                <a:cubicBezTo>
                  <a:pt x="0" y="543"/>
                  <a:pt x="4" y="547"/>
                  <a:pt x="9" y="547"/>
                </a:cubicBezTo>
                <a:cubicBezTo>
                  <a:pt x="168" y="547"/>
                  <a:pt x="168" y="547"/>
                  <a:pt x="168" y="547"/>
                </a:cubicBezTo>
                <a:cubicBezTo>
                  <a:pt x="173" y="547"/>
                  <a:pt x="177" y="543"/>
                  <a:pt x="177" y="538"/>
                </a:cubicBezTo>
                <a:cubicBezTo>
                  <a:pt x="177" y="520"/>
                  <a:pt x="177" y="520"/>
                  <a:pt x="177" y="520"/>
                </a:cubicBezTo>
                <a:cubicBezTo>
                  <a:pt x="240" y="520"/>
                  <a:pt x="240" y="520"/>
                  <a:pt x="240" y="520"/>
                </a:cubicBezTo>
                <a:cubicBezTo>
                  <a:pt x="244" y="536"/>
                  <a:pt x="257" y="547"/>
                  <a:pt x="274" y="547"/>
                </a:cubicBezTo>
                <a:cubicBezTo>
                  <a:pt x="290" y="547"/>
                  <a:pt x="304" y="536"/>
                  <a:pt x="308" y="520"/>
                </a:cubicBezTo>
                <a:cubicBezTo>
                  <a:pt x="371" y="520"/>
                  <a:pt x="371" y="520"/>
                  <a:pt x="371" y="520"/>
                </a:cubicBezTo>
                <a:cubicBezTo>
                  <a:pt x="371" y="538"/>
                  <a:pt x="371" y="538"/>
                  <a:pt x="371" y="538"/>
                </a:cubicBezTo>
                <a:cubicBezTo>
                  <a:pt x="371" y="543"/>
                  <a:pt x="375" y="547"/>
                  <a:pt x="379" y="547"/>
                </a:cubicBezTo>
                <a:cubicBezTo>
                  <a:pt x="538" y="547"/>
                  <a:pt x="538" y="547"/>
                  <a:pt x="538" y="547"/>
                </a:cubicBezTo>
                <a:cubicBezTo>
                  <a:pt x="543" y="547"/>
                  <a:pt x="547" y="543"/>
                  <a:pt x="547" y="538"/>
                </a:cubicBezTo>
                <a:cubicBezTo>
                  <a:pt x="547" y="503"/>
                  <a:pt x="547" y="503"/>
                  <a:pt x="547" y="503"/>
                </a:cubicBezTo>
                <a:cubicBezTo>
                  <a:pt x="547" y="483"/>
                  <a:pt x="534" y="466"/>
                  <a:pt x="515" y="461"/>
                </a:cubicBezTo>
                <a:close/>
                <a:moveTo>
                  <a:pt x="476" y="247"/>
                </a:moveTo>
                <a:cubicBezTo>
                  <a:pt x="471" y="247"/>
                  <a:pt x="468" y="243"/>
                  <a:pt x="468" y="238"/>
                </a:cubicBezTo>
                <a:cubicBezTo>
                  <a:pt x="468" y="234"/>
                  <a:pt x="471" y="230"/>
                  <a:pt x="476" y="230"/>
                </a:cubicBezTo>
                <a:cubicBezTo>
                  <a:pt x="481" y="230"/>
                  <a:pt x="485" y="234"/>
                  <a:pt x="485" y="238"/>
                </a:cubicBezTo>
                <a:cubicBezTo>
                  <a:pt x="485" y="243"/>
                  <a:pt x="481" y="247"/>
                  <a:pt x="476" y="247"/>
                </a:cubicBezTo>
                <a:close/>
                <a:moveTo>
                  <a:pt x="520" y="141"/>
                </a:moveTo>
                <a:cubicBezTo>
                  <a:pt x="525" y="141"/>
                  <a:pt x="529" y="145"/>
                  <a:pt x="529" y="150"/>
                </a:cubicBezTo>
                <a:cubicBezTo>
                  <a:pt x="529" y="155"/>
                  <a:pt x="525" y="159"/>
                  <a:pt x="520" y="159"/>
                </a:cubicBezTo>
                <a:cubicBezTo>
                  <a:pt x="516" y="159"/>
                  <a:pt x="512" y="155"/>
                  <a:pt x="512" y="150"/>
                </a:cubicBezTo>
                <a:cubicBezTo>
                  <a:pt x="512" y="145"/>
                  <a:pt x="516" y="141"/>
                  <a:pt x="520" y="141"/>
                </a:cubicBezTo>
                <a:close/>
                <a:moveTo>
                  <a:pt x="27" y="159"/>
                </a:moveTo>
                <a:cubicBezTo>
                  <a:pt x="22" y="159"/>
                  <a:pt x="18" y="155"/>
                  <a:pt x="18" y="150"/>
                </a:cubicBezTo>
                <a:cubicBezTo>
                  <a:pt x="18" y="145"/>
                  <a:pt x="22" y="141"/>
                  <a:pt x="27" y="141"/>
                </a:cubicBezTo>
                <a:cubicBezTo>
                  <a:pt x="32" y="141"/>
                  <a:pt x="36" y="145"/>
                  <a:pt x="36" y="150"/>
                </a:cubicBezTo>
                <a:cubicBezTo>
                  <a:pt x="36" y="155"/>
                  <a:pt x="32" y="159"/>
                  <a:pt x="27" y="159"/>
                </a:cubicBezTo>
                <a:close/>
                <a:moveTo>
                  <a:pt x="71" y="247"/>
                </a:moveTo>
                <a:cubicBezTo>
                  <a:pt x="66" y="247"/>
                  <a:pt x="62" y="243"/>
                  <a:pt x="62" y="238"/>
                </a:cubicBezTo>
                <a:cubicBezTo>
                  <a:pt x="62" y="234"/>
                  <a:pt x="66" y="230"/>
                  <a:pt x="71" y="230"/>
                </a:cubicBezTo>
                <a:cubicBezTo>
                  <a:pt x="76" y="230"/>
                  <a:pt x="80" y="234"/>
                  <a:pt x="80" y="238"/>
                </a:cubicBezTo>
                <a:cubicBezTo>
                  <a:pt x="80" y="243"/>
                  <a:pt x="76" y="247"/>
                  <a:pt x="71" y="247"/>
                </a:cubicBezTo>
                <a:close/>
                <a:moveTo>
                  <a:pt x="344" y="318"/>
                </a:moveTo>
                <a:cubicBezTo>
                  <a:pt x="344" y="344"/>
                  <a:pt x="344" y="344"/>
                  <a:pt x="344" y="344"/>
                </a:cubicBezTo>
                <a:cubicBezTo>
                  <a:pt x="282" y="344"/>
                  <a:pt x="282" y="344"/>
                  <a:pt x="282" y="344"/>
                </a:cubicBezTo>
                <a:cubicBezTo>
                  <a:pt x="282" y="321"/>
                  <a:pt x="282" y="321"/>
                  <a:pt x="282" y="321"/>
                </a:cubicBezTo>
                <a:cubicBezTo>
                  <a:pt x="314" y="289"/>
                  <a:pt x="314" y="289"/>
                  <a:pt x="314" y="289"/>
                </a:cubicBezTo>
                <a:cubicBezTo>
                  <a:pt x="325" y="292"/>
                  <a:pt x="325" y="292"/>
                  <a:pt x="325" y="292"/>
                </a:cubicBezTo>
                <a:cubicBezTo>
                  <a:pt x="336" y="296"/>
                  <a:pt x="344" y="306"/>
                  <a:pt x="344" y="318"/>
                </a:cubicBezTo>
                <a:close/>
                <a:moveTo>
                  <a:pt x="203" y="177"/>
                </a:moveTo>
                <a:cubicBezTo>
                  <a:pt x="133" y="177"/>
                  <a:pt x="133" y="177"/>
                  <a:pt x="133" y="177"/>
                </a:cubicBezTo>
                <a:cubicBezTo>
                  <a:pt x="113" y="177"/>
                  <a:pt x="97" y="161"/>
                  <a:pt x="97" y="141"/>
                </a:cubicBezTo>
                <a:cubicBezTo>
                  <a:pt x="97" y="122"/>
                  <a:pt x="113" y="106"/>
                  <a:pt x="133" y="106"/>
                </a:cubicBezTo>
                <a:cubicBezTo>
                  <a:pt x="137" y="106"/>
                  <a:pt x="142" y="107"/>
                  <a:pt x="147" y="109"/>
                </a:cubicBezTo>
                <a:cubicBezTo>
                  <a:pt x="150" y="111"/>
                  <a:pt x="153" y="110"/>
                  <a:pt x="155" y="108"/>
                </a:cubicBezTo>
                <a:cubicBezTo>
                  <a:pt x="158" y="106"/>
                  <a:pt x="159" y="103"/>
                  <a:pt x="159" y="100"/>
                </a:cubicBezTo>
                <a:cubicBezTo>
                  <a:pt x="159" y="99"/>
                  <a:pt x="159" y="98"/>
                  <a:pt x="159" y="97"/>
                </a:cubicBezTo>
                <a:cubicBezTo>
                  <a:pt x="159" y="73"/>
                  <a:pt x="179" y="53"/>
                  <a:pt x="203" y="53"/>
                </a:cubicBezTo>
                <a:cubicBezTo>
                  <a:pt x="215" y="53"/>
                  <a:pt x="226" y="58"/>
                  <a:pt x="235" y="67"/>
                </a:cubicBezTo>
                <a:cubicBezTo>
                  <a:pt x="237" y="69"/>
                  <a:pt x="240" y="70"/>
                  <a:pt x="243" y="69"/>
                </a:cubicBezTo>
                <a:cubicBezTo>
                  <a:pt x="246" y="68"/>
                  <a:pt x="249" y="66"/>
                  <a:pt x="250" y="63"/>
                </a:cubicBezTo>
                <a:cubicBezTo>
                  <a:pt x="257" y="37"/>
                  <a:pt x="281" y="18"/>
                  <a:pt x="309" y="18"/>
                </a:cubicBezTo>
                <a:cubicBezTo>
                  <a:pt x="343" y="18"/>
                  <a:pt x="371" y="46"/>
                  <a:pt x="371" y="80"/>
                </a:cubicBezTo>
                <a:cubicBezTo>
                  <a:pt x="371" y="87"/>
                  <a:pt x="369" y="94"/>
                  <a:pt x="367" y="100"/>
                </a:cubicBezTo>
                <a:cubicBezTo>
                  <a:pt x="366" y="104"/>
                  <a:pt x="367" y="108"/>
                  <a:pt x="370" y="110"/>
                </a:cubicBezTo>
                <a:cubicBezTo>
                  <a:pt x="372" y="112"/>
                  <a:pt x="376" y="113"/>
                  <a:pt x="380" y="111"/>
                </a:cubicBezTo>
                <a:cubicBezTo>
                  <a:pt x="385" y="108"/>
                  <a:pt x="391" y="106"/>
                  <a:pt x="397" y="106"/>
                </a:cubicBezTo>
                <a:cubicBezTo>
                  <a:pt x="416" y="106"/>
                  <a:pt x="432" y="122"/>
                  <a:pt x="432" y="141"/>
                </a:cubicBezTo>
                <a:cubicBezTo>
                  <a:pt x="432" y="161"/>
                  <a:pt x="416" y="177"/>
                  <a:pt x="397" y="177"/>
                </a:cubicBezTo>
                <a:cubicBezTo>
                  <a:pt x="344" y="177"/>
                  <a:pt x="344" y="177"/>
                  <a:pt x="344" y="177"/>
                </a:cubicBezTo>
                <a:cubicBezTo>
                  <a:pt x="344" y="143"/>
                  <a:pt x="312" y="115"/>
                  <a:pt x="274" y="115"/>
                </a:cubicBezTo>
                <a:cubicBezTo>
                  <a:pt x="235" y="115"/>
                  <a:pt x="203" y="143"/>
                  <a:pt x="203" y="177"/>
                </a:cubicBezTo>
                <a:close/>
                <a:moveTo>
                  <a:pt x="226" y="177"/>
                </a:moveTo>
                <a:cubicBezTo>
                  <a:pt x="224" y="178"/>
                  <a:pt x="222" y="180"/>
                  <a:pt x="221" y="182"/>
                </a:cubicBezTo>
                <a:cubicBezTo>
                  <a:pt x="221" y="180"/>
                  <a:pt x="221" y="179"/>
                  <a:pt x="221" y="177"/>
                </a:cubicBezTo>
                <a:cubicBezTo>
                  <a:pt x="221" y="152"/>
                  <a:pt x="244" y="133"/>
                  <a:pt x="274" y="133"/>
                </a:cubicBezTo>
                <a:cubicBezTo>
                  <a:pt x="303" y="133"/>
                  <a:pt x="326" y="152"/>
                  <a:pt x="326" y="177"/>
                </a:cubicBezTo>
                <a:cubicBezTo>
                  <a:pt x="326" y="179"/>
                  <a:pt x="326" y="180"/>
                  <a:pt x="326" y="182"/>
                </a:cubicBezTo>
                <a:cubicBezTo>
                  <a:pt x="325" y="179"/>
                  <a:pt x="321" y="177"/>
                  <a:pt x="318" y="177"/>
                </a:cubicBezTo>
                <a:cubicBezTo>
                  <a:pt x="291" y="177"/>
                  <a:pt x="291" y="177"/>
                  <a:pt x="291" y="177"/>
                </a:cubicBezTo>
                <a:cubicBezTo>
                  <a:pt x="286" y="177"/>
                  <a:pt x="282" y="173"/>
                  <a:pt x="282" y="168"/>
                </a:cubicBezTo>
                <a:cubicBezTo>
                  <a:pt x="282" y="165"/>
                  <a:pt x="281" y="162"/>
                  <a:pt x="279" y="161"/>
                </a:cubicBezTo>
                <a:cubicBezTo>
                  <a:pt x="276" y="159"/>
                  <a:pt x="273" y="159"/>
                  <a:pt x="270" y="160"/>
                </a:cubicBezTo>
                <a:lnTo>
                  <a:pt x="226" y="177"/>
                </a:lnTo>
                <a:close/>
                <a:moveTo>
                  <a:pt x="238" y="191"/>
                </a:moveTo>
                <a:cubicBezTo>
                  <a:pt x="268" y="180"/>
                  <a:pt x="268" y="180"/>
                  <a:pt x="268" y="180"/>
                </a:cubicBezTo>
                <a:cubicBezTo>
                  <a:pt x="272" y="188"/>
                  <a:pt x="281" y="194"/>
                  <a:pt x="291" y="194"/>
                </a:cubicBezTo>
                <a:cubicBezTo>
                  <a:pt x="309" y="194"/>
                  <a:pt x="309" y="194"/>
                  <a:pt x="309" y="194"/>
                </a:cubicBezTo>
                <a:cubicBezTo>
                  <a:pt x="309" y="212"/>
                  <a:pt x="309" y="212"/>
                  <a:pt x="309" y="212"/>
                </a:cubicBezTo>
                <a:cubicBezTo>
                  <a:pt x="309" y="231"/>
                  <a:pt x="293" y="247"/>
                  <a:pt x="274" y="247"/>
                </a:cubicBezTo>
                <a:cubicBezTo>
                  <a:pt x="254" y="247"/>
                  <a:pt x="238" y="231"/>
                  <a:pt x="238" y="212"/>
                </a:cubicBezTo>
                <a:lnTo>
                  <a:pt x="238" y="191"/>
                </a:lnTo>
                <a:close/>
                <a:moveTo>
                  <a:pt x="274" y="265"/>
                </a:moveTo>
                <a:cubicBezTo>
                  <a:pt x="277" y="265"/>
                  <a:pt x="280" y="265"/>
                  <a:pt x="282" y="264"/>
                </a:cubicBezTo>
                <a:cubicBezTo>
                  <a:pt x="282" y="274"/>
                  <a:pt x="282" y="274"/>
                  <a:pt x="282" y="274"/>
                </a:cubicBezTo>
                <a:cubicBezTo>
                  <a:pt x="282" y="278"/>
                  <a:pt x="285" y="281"/>
                  <a:pt x="289" y="282"/>
                </a:cubicBezTo>
                <a:cubicBezTo>
                  <a:pt x="295" y="284"/>
                  <a:pt x="295" y="284"/>
                  <a:pt x="295" y="284"/>
                </a:cubicBezTo>
                <a:cubicBezTo>
                  <a:pt x="274" y="305"/>
                  <a:pt x="274" y="305"/>
                  <a:pt x="274" y="305"/>
                </a:cubicBezTo>
                <a:cubicBezTo>
                  <a:pt x="252" y="284"/>
                  <a:pt x="252" y="284"/>
                  <a:pt x="252" y="284"/>
                </a:cubicBezTo>
                <a:cubicBezTo>
                  <a:pt x="258" y="282"/>
                  <a:pt x="258" y="282"/>
                  <a:pt x="258" y="282"/>
                </a:cubicBezTo>
                <a:cubicBezTo>
                  <a:pt x="262" y="281"/>
                  <a:pt x="265" y="278"/>
                  <a:pt x="265" y="274"/>
                </a:cubicBezTo>
                <a:cubicBezTo>
                  <a:pt x="265" y="264"/>
                  <a:pt x="265" y="264"/>
                  <a:pt x="265" y="264"/>
                </a:cubicBezTo>
                <a:cubicBezTo>
                  <a:pt x="268" y="265"/>
                  <a:pt x="271" y="265"/>
                  <a:pt x="274" y="265"/>
                </a:cubicBezTo>
                <a:close/>
                <a:moveTo>
                  <a:pt x="203" y="318"/>
                </a:moveTo>
                <a:cubicBezTo>
                  <a:pt x="203" y="306"/>
                  <a:pt x="211" y="296"/>
                  <a:pt x="222" y="292"/>
                </a:cubicBezTo>
                <a:cubicBezTo>
                  <a:pt x="233" y="289"/>
                  <a:pt x="233" y="289"/>
                  <a:pt x="233" y="289"/>
                </a:cubicBezTo>
                <a:cubicBezTo>
                  <a:pt x="265" y="321"/>
                  <a:pt x="265" y="321"/>
                  <a:pt x="265" y="321"/>
                </a:cubicBezTo>
                <a:cubicBezTo>
                  <a:pt x="265" y="344"/>
                  <a:pt x="265" y="344"/>
                  <a:pt x="265" y="344"/>
                </a:cubicBezTo>
                <a:cubicBezTo>
                  <a:pt x="203" y="344"/>
                  <a:pt x="203" y="344"/>
                  <a:pt x="203" y="344"/>
                </a:cubicBezTo>
                <a:lnTo>
                  <a:pt x="203" y="318"/>
                </a:lnTo>
                <a:close/>
                <a:moveTo>
                  <a:pt x="41" y="362"/>
                </a:moveTo>
                <a:cubicBezTo>
                  <a:pt x="39" y="363"/>
                  <a:pt x="37" y="365"/>
                  <a:pt x="36" y="367"/>
                </a:cubicBezTo>
                <a:cubicBezTo>
                  <a:pt x="36" y="366"/>
                  <a:pt x="36" y="364"/>
                  <a:pt x="36" y="362"/>
                </a:cubicBezTo>
                <a:cubicBezTo>
                  <a:pt x="36" y="338"/>
                  <a:pt x="59" y="318"/>
                  <a:pt x="88" y="318"/>
                </a:cubicBezTo>
                <a:cubicBezTo>
                  <a:pt x="118" y="318"/>
                  <a:pt x="141" y="338"/>
                  <a:pt x="141" y="362"/>
                </a:cubicBezTo>
                <a:cubicBezTo>
                  <a:pt x="141" y="364"/>
                  <a:pt x="141" y="366"/>
                  <a:pt x="141" y="367"/>
                </a:cubicBezTo>
                <a:cubicBezTo>
                  <a:pt x="139" y="364"/>
                  <a:pt x="136" y="362"/>
                  <a:pt x="133" y="362"/>
                </a:cubicBezTo>
                <a:cubicBezTo>
                  <a:pt x="106" y="362"/>
                  <a:pt x="106" y="362"/>
                  <a:pt x="106" y="362"/>
                </a:cubicBezTo>
                <a:cubicBezTo>
                  <a:pt x="101" y="362"/>
                  <a:pt x="97" y="358"/>
                  <a:pt x="97" y="353"/>
                </a:cubicBezTo>
                <a:cubicBezTo>
                  <a:pt x="97" y="350"/>
                  <a:pt x="96" y="347"/>
                  <a:pt x="93" y="346"/>
                </a:cubicBezTo>
                <a:cubicBezTo>
                  <a:pt x="91" y="344"/>
                  <a:pt x="88" y="344"/>
                  <a:pt x="85" y="345"/>
                </a:cubicBezTo>
                <a:lnTo>
                  <a:pt x="41" y="362"/>
                </a:lnTo>
                <a:close/>
                <a:moveTo>
                  <a:pt x="53" y="377"/>
                </a:moveTo>
                <a:cubicBezTo>
                  <a:pt x="82" y="365"/>
                  <a:pt x="82" y="365"/>
                  <a:pt x="82" y="365"/>
                </a:cubicBezTo>
                <a:cubicBezTo>
                  <a:pt x="87" y="374"/>
                  <a:pt x="96" y="379"/>
                  <a:pt x="106" y="379"/>
                </a:cubicBezTo>
                <a:cubicBezTo>
                  <a:pt x="124" y="379"/>
                  <a:pt x="124" y="379"/>
                  <a:pt x="124" y="379"/>
                </a:cubicBezTo>
                <a:cubicBezTo>
                  <a:pt x="124" y="397"/>
                  <a:pt x="124" y="397"/>
                  <a:pt x="124" y="397"/>
                </a:cubicBezTo>
                <a:cubicBezTo>
                  <a:pt x="124" y="417"/>
                  <a:pt x="108" y="432"/>
                  <a:pt x="88" y="432"/>
                </a:cubicBezTo>
                <a:cubicBezTo>
                  <a:pt x="69" y="432"/>
                  <a:pt x="53" y="417"/>
                  <a:pt x="53" y="397"/>
                </a:cubicBezTo>
                <a:lnTo>
                  <a:pt x="53" y="377"/>
                </a:lnTo>
                <a:close/>
                <a:moveTo>
                  <a:pt x="88" y="450"/>
                </a:moveTo>
                <a:cubicBezTo>
                  <a:pt x="91" y="450"/>
                  <a:pt x="94" y="450"/>
                  <a:pt x="97" y="449"/>
                </a:cubicBezTo>
                <a:cubicBezTo>
                  <a:pt x="97" y="459"/>
                  <a:pt x="97" y="459"/>
                  <a:pt x="97" y="459"/>
                </a:cubicBezTo>
                <a:cubicBezTo>
                  <a:pt x="97" y="463"/>
                  <a:pt x="100" y="466"/>
                  <a:pt x="104" y="467"/>
                </a:cubicBezTo>
                <a:cubicBezTo>
                  <a:pt x="110" y="469"/>
                  <a:pt x="110" y="469"/>
                  <a:pt x="110" y="469"/>
                </a:cubicBezTo>
                <a:cubicBezTo>
                  <a:pt x="88" y="490"/>
                  <a:pt x="88" y="490"/>
                  <a:pt x="88" y="490"/>
                </a:cubicBezTo>
                <a:cubicBezTo>
                  <a:pt x="67" y="469"/>
                  <a:pt x="67" y="469"/>
                  <a:pt x="67" y="469"/>
                </a:cubicBezTo>
                <a:cubicBezTo>
                  <a:pt x="73" y="467"/>
                  <a:pt x="73" y="467"/>
                  <a:pt x="73" y="467"/>
                </a:cubicBezTo>
                <a:cubicBezTo>
                  <a:pt x="77" y="466"/>
                  <a:pt x="80" y="463"/>
                  <a:pt x="80" y="459"/>
                </a:cubicBezTo>
                <a:cubicBezTo>
                  <a:pt x="80" y="449"/>
                  <a:pt x="80" y="449"/>
                  <a:pt x="80" y="449"/>
                </a:cubicBezTo>
                <a:cubicBezTo>
                  <a:pt x="83" y="450"/>
                  <a:pt x="85" y="450"/>
                  <a:pt x="88" y="450"/>
                </a:cubicBezTo>
                <a:close/>
                <a:moveTo>
                  <a:pt x="18" y="503"/>
                </a:moveTo>
                <a:cubicBezTo>
                  <a:pt x="18" y="491"/>
                  <a:pt x="26" y="481"/>
                  <a:pt x="37" y="478"/>
                </a:cubicBezTo>
                <a:cubicBezTo>
                  <a:pt x="48" y="475"/>
                  <a:pt x="48" y="475"/>
                  <a:pt x="48" y="475"/>
                </a:cubicBezTo>
                <a:cubicBezTo>
                  <a:pt x="80" y="507"/>
                  <a:pt x="80" y="507"/>
                  <a:pt x="80" y="507"/>
                </a:cubicBezTo>
                <a:cubicBezTo>
                  <a:pt x="80" y="529"/>
                  <a:pt x="80" y="529"/>
                  <a:pt x="80" y="529"/>
                </a:cubicBezTo>
                <a:cubicBezTo>
                  <a:pt x="18" y="529"/>
                  <a:pt x="18" y="529"/>
                  <a:pt x="18" y="529"/>
                </a:cubicBezTo>
                <a:lnTo>
                  <a:pt x="18" y="503"/>
                </a:lnTo>
                <a:close/>
                <a:moveTo>
                  <a:pt x="159" y="529"/>
                </a:moveTo>
                <a:cubicBezTo>
                  <a:pt x="97" y="529"/>
                  <a:pt x="97" y="529"/>
                  <a:pt x="97" y="529"/>
                </a:cubicBezTo>
                <a:cubicBezTo>
                  <a:pt x="97" y="507"/>
                  <a:pt x="97" y="507"/>
                  <a:pt x="97" y="507"/>
                </a:cubicBezTo>
                <a:cubicBezTo>
                  <a:pt x="129" y="475"/>
                  <a:pt x="129" y="475"/>
                  <a:pt x="129" y="475"/>
                </a:cubicBezTo>
                <a:cubicBezTo>
                  <a:pt x="140" y="478"/>
                  <a:pt x="140" y="478"/>
                  <a:pt x="140" y="478"/>
                </a:cubicBezTo>
                <a:cubicBezTo>
                  <a:pt x="151" y="481"/>
                  <a:pt x="159" y="491"/>
                  <a:pt x="159" y="503"/>
                </a:cubicBezTo>
                <a:lnTo>
                  <a:pt x="159" y="529"/>
                </a:lnTo>
                <a:close/>
                <a:moveTo>
                  <a:pt x="274" y="529"/>
                </a:moveTo>
                <a:cubicBezTo>
                  <a:pt x="264" y="529"/>
                  <a:pt x="256" y="521"/>
                  <a:pt x="256" y="512"/>
                </a:cubicBezTo>
                <a:cubicBezTo>
                  <a:pt x="256" y="502"/>
                  <a:pt x="264" y="494"/>
                  <a:pt x="274" y="494"/>
                </a:cubicBezTo>
                <a:cubicBezTo>
                  <a:pt x="283" y="494"/>
                  <a:pt x="291" y="502"/>
                  <a:pt x="291" y="512"/>
                </a:cubicBezTo>
                <a:cubicBezTo>
                  <a:pt x="291" y="521"/>
                  <a:pt x="283" y="529"/>
                  <a:pt x="274" y="529"/>
                </a:cubicBezTo>
                <a:close/>
                <a:moveTo>
                  <a:pt x="411" y="362"/>
                </a:moveTo>
                <a:cubicBezTo>
                  <a:pt x="409" y="363"/>
                  <a:pt x="407" y="365"/>
                  <a:pt x="406" y="367"/>
                </a:cubicBezTo>
                <a:cubicBezTo>
                  <a:pt x="406" y="366"/>
                  <a:pt x="406" y="364"/>
                  <a:pt x="406" y="362"/>
                </a:cubicBezTo>
                <a:cubicBezTo>
                  <a:pt x="406" y="338"/>
                  <a:pt x="430" y="318"/>
                  <a:pt x="459" y="318"/>
                </a:cubicBezTo>
                <a:cubicBezTo>
                  <a:pt x="488" y="318"/>
                  <a:pt x="512" y="338"/>
                  <a:pt x="512" y="362"/>
                </a:cubicBezTo>
                <a:cubicBezTo>
                  <a:pt x="512" y="364"/>
                  <a:pt x="511" y="366"/>
                  <a:pt x="511" y="367"/>
                </a:cubicBezTo>
                <a:cubicBezTo>
                  <a:pt x="510" y="364"/>
                  <a:pt x="507" y="362"/>
                  <a:pt x="503" y="362"/>
                </a:cubicBezTo>
                <a:cubicBezTo>
                  <a:pt x="476" y="362"/>
                  <a:pt x="476" y="362"/>
                  <a:pt x="476" y="362"/>
                </a:cubicBezTo>
                <a:cubicBezTo>
                  <a:pt x="471" y="362"/>
                  <a:pt x="468" y="358"/>
                  <a:pt x="468" y="353"/>
                </a:cubicBezTo>
                <a:cubicBezTo>
                  <a:pt x="468" y="350"/>
                  <a:pt x="466" y="347"/>
                  <a:pt x="464" y="346"/>
                </a:cubicBezTo>
                <a:cubicBezTo>
                  <a:pt x="461" y="344"/>
                  <a:pt x="458" y="344"/>
                  <a:pt x="455" y="345"/>
                </a:cubicBezTo>
                <a:lnTo>
                  <a:pt x="411" y="362"/>
                </a:lnTo>
                <a:close/>
                <a:moveTo>
                  <a:pt x="423" y="377"/>
                </a:moveTo>
                <a:cubicBezTo>
                  <a:pt x="453" y="365"/>
                  <a:pt x="453" y="365"/>
                  <a:pt x="453" y="365"/>
                </a:cubicBezTo>
                <a:cubicBezTo>
                  <a:pt x="457" y="374"/>
                  <a:pt x="466" y="379"/>
                  <a:pt x="476" y="379"/>
                </a:cubicBezTo>
                <a:cubicBezTo>
                  <a:pt x="494" y="379"/>
                  <a:pt x="494" y="379"/>
                  <a:pt x="494" y="379"/>
                </a:cubicBezTo>
                <a:cubicBezTo>
                  <a:pt x="494" y="397"/>
                  <a:pt x="494" y="397"/>
                  <a:pt x="494" y="397"/>
                </a:cubicBezTo>
                <a:cubicBezTo>
                  <a:pt x="494" y="417"/>
                  <a:pt x="478" y="432"/>
                  <a:pt x="459" y="432"/>
                </a:cubicBezTo>
                <a:cubicBezTo>
                  <a:pt x="439" y="432"/>
                  <a:pt x="423" y="417"/>
                  <a:pt x="423" y="397"/>
                </a:cubicBezTo>
                <a:lnTo>
                  <a:pt x="423" y="377"/>
                </a:lnTo>
                <a:close/>
                <a:moveTo>
                  <a:pt x="459" y="450"/>
                </a:moveTo>
                <a:cubicBezTo>
                  <a:pt x="462" y="450"/>
                  <a:pt x="465" y="450"/>
                  <a:pt x="468" y="449"/>
                </a:cubicBezTo>
                <a:cubicBezTo>
                  <a:pt x="468" y="459"/>
                  <a:pt x="468" y="459"/>
                  <a:pt x="468" y="459"/>
                </a:cubicBezTo>
                <a:cubicBezTo>
                  <a:pt x="468" y="463"/>
                  <a:pt x="470" y="466"/>
                  <a:pt x="474" y="467"/>
                </a:cubicBezTo>
                <a:cubicBezTo>
                  <a:pt x="480" y="469"/>
                  <a:pt x="480" y="469"/>
                  <a:pt x="480" y="469"/>
                </a:cubicBezTo>
                <a:cubicBezTo>
                  <a:pt x="459" y="490"/>
                  <a:pt x="459" y="490"/>
                  <a:pt x="459" y="490"/>
                </a:cubicBezTo>
                <a:cubicBezTo>
                  <a:pt x="437" y="469"/>
                  <a:pt x="437" y="469"/>
                  <a:pt x="437" y="469"/>
                </a:cubicBezTo>
                <a:cubicBezTo>
                  <a:pt x="443" y="467"/>
                  <a:pt x="443" y="467"/>
                  <a:pt x="443" y="467"/>
                </a:cubicBezTo>
                <a:cubicBezTo>
                  <a:pt x="447" y="466"/>
                  <a:pt x="450" y="463"/>
                  <a:pt x="450" y="459"/>
                </a:cubicBezTo>
                <a:cubicBezTo>
                  <a:pt x="450" y="449"/>
                  <a:pt x="450" y="449"/>
                  <a:pt x="450" y="449"/>
                </a:cubicBezTo>
                <a:cubicBezTo>
                  <a:pt x="453" y="450"/>
                  <a:pt x="456" y="450"/>
                  <a:pt x="459" y="450"/>
                </a:cubicBezTo>
                <a:close/>
                <a:moveTo>
                  <a:pt x="388" y="503"/>
                </a:moveTo>
                <a:cubicBezTo>
                  <a:pt x="388" y="491"/>
                  <a:pt x="396" y="481"/>
                  <a:pt x="407" y="478"/>
                </a:cubicBezTo>
                <a:cubicBezTo>
                  <a:pt x="418" y="475"/>
                  <a:pt x="418" y="475"/>
                  <a:pt x="418" y="475"/>
                </a:cubicBezTo>
                <a:cubicBezTo>
                  <a:pt x="450" y="507"/>
                  <a:pt x="450" y="507"/>
                  <a:pt x="450" y="507"/>
                </a:cubicBezTo>
                <a:cubicBezTo>
                  <a:pt x="450" y="529"/>
                  <a:pt x="450" y="529"/>
                  <a:pt x="450" y="529"/>
                </a:cubicBezTo>
                <a:cubicBezTo>
                  <a:pt x="388" y="529"/>
                  <a:pt x="388" y="529"/>
                  <a:pt x="388" y="529"/>
                </a:cubicBezTo>
                <a:lnTo>
                  <a:pt x="388" y="503"/>
                </a:lnTo>
                <a:close/>
                <a:moveTo>
                  <a:pt x="529" y="529"/>
                </a:moveTo>
                <a:cubicBezTo>
                  <a:pt x="468" y="529"/>
                  <a:pt x="468" y="529"/>
                  <a:pt x="468" y="529"/>
                </a:cubicBezTo>
                <a:cubicBezTo>
                  <a:pt x="468" y="507"/>
                  <a:pt x="468" y="507"/>
                  <a:pt x="468" y="507"/>
                </a:cubicBezTo>
                <a:cubicBezTo>
                  <a:pt x="499" y="475"/>
                  <a:pt x="499" y="475"/>
                  <a:pt x="499" y="475"/>
                </a:cubicBezTo>
                <a:cubicBezTo>
                  <a:pt x="510" y="478"/>
                  <a:pt x="510" y="478"/>
                  <a:pt x="510" y="478"/>
                </a:cubicBezTo>
                <a:cubicBezTo>
                  <a:pt x="521" y="481"/>
                  <a:pt x="529" y="491"/>
                  <a:pt x="529" y="503"/>
                </a:cubicBezTo>
                <a:lnTo>
                  <a:pt x="529" y="529"/>
                </a:lnTo>
                <a:close/>
              </a:path>
            </a:pathLst>
          </a:custGeom>
          <a:solidFill>
            <a:srgbClr val="6F7479"/>
          </a:solid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endParaRPr lang="de-DE" sz="2098"/>
          </a:p>
        </p:txBody>
      </p:sp>
      <p:sp>
        <p:nvSpPr>
          <p:cNvPr id="40" name="Footer Placeholder 3">
            <a:extLst>
              <a:ext uri="{FF2B5EF4-FFF2-40B4-BE49-F238E27FC236}">
                <a16:creationId xmlns:a16="http://schemas.microsoft.com/office/drawing/2014/main" id="{924CD9FA-84CB-0ECD-E48B-6D369F0187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41" name="Foliennummernplatzhalter 1">
            <a:extLst>
              <a:ext uri="{FF2B5EF4-FFF2-40B4-BE49-F238E27FC236}">
                <a16:creationId xmlns:a16="http://schemas.microsoft.com/office/drawing/2014/main" id="{AB7456C3-787D-006E-FE46-1CB2B636CB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8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1113324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kt 59" hidden="1">
            <a:extLst>
              <a:ext uri="{FF2B5EF4-FFF2-40B4-BE49-F238E27FC236}">
                <a16:creationId xmlns:a16="http://schemas.microsoft.com/office/drawing/2014/main" id="{F2CD6F9F-31D0-A6B6-E4B6-9435EB665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60" name="Objekt 59" hidden="1">
                        <a:extLst>
                          <a:ext uri="{FF2B5EF4-FFF2-40B4-BE49-F238E27FC236}">
                            <a16:creationId xmlns:a16="http://schemas.microsoft.com/office/drawing/2014/main" id="{F2CD6F9F-31D0-A6B6-E4B6-9435EB665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Title 6">
            <a:extLst>
              <a:ext uri="{FF2B5EF4-FFF2-40B4-BE49-F238E27FC236}">
                <a16:creationId xmlns:a16="http://schemas.microsoft.com/office/drawing/2014/main" id="{B25DEDFE-DF85-ABD6-8BB2-8780D5295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90" y="368300"/>
            <a:ext cx="6414776" cy="1008360"/>
          </a:xfrm>
        </p:spPr>
        <p:txBody>
          <a:bodyPr vert="horz"/>
          <a:lstStyle/>
          <a:p>
            <a:r>
              <a:rPr lang="en-US" dirty="0" err="1"/>
              <a:t>Nachteile</a:t>
            </a:r>
            <a:r>
              <a:rPr lang="en-US" dirty="0"/>
              <a:t> MVC?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13A3BA8C-1ABF-55E0-720D-F931D607984D}"/>
              </a:ext>
            </a:extLst>
          </p:cNvPr>
          <p:cNvSpPr txBox="1"/>
          <p:nvPr/>
        </p:nvSpPr>
        <p:spPr>
          <a:xfrm>
            <a:off x="2709742" y="3404063"/>
            <a:ext cx="2528195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Änderungen in einer dieser Komponenten erfordern oft Anpassungen in der anderen.</a:t>
            </a:r>
            <a:endParaRPr lang="de-DE" sz="18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3" name="Titel 4">
            <a:extLst>
              <a:ext uri="{FF2B5EF4-FFF2-40B4-BE49-F238E27FC236}">
                <a16:creationId xmlns:a16="http://schemas.microsoft.com/office/drawing/2014/main" id="{8AB5BE43-6FF0-6B07-B47B-A612C482CB56}"/>
              </a:ext>
            </a:extLst>
          </p:cNvPr>
          <p:cNvSpPr txBox="1">
            <a:spLocks/>
          </p:cNvSpPr>
          <p:nvPr/>
        </p:nvSpPr>
        <p:spPr bwMode="black">
          <a:xfrm>
            <a:off x="2783761" y="2562748"/>
            <a:ext cx="2160980" cy="5537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271" rtl="0" eaLnBrk="1" latinLnBrk="0" hangingPunct="1">
              <a:spcBef>
                <a:spcPts val="0"/>
              </a:spcBef>
              <a:buFont typeface="+mj-lt"/>
              <a:buNone/>
              <a:defRPr sz="3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800" b="1" dirty="0"/>
              <a:t>Kopplung View/Controller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59E6DC20-51F3-9CE0-4B3E-AAE1A859AD83}"/>
              </a:ext>
            </a:extLst>
          </p:cNvPr>
          <p:cNvSpPr txBox="1"/>
          <p:nvPr/>
        </p:nvSpPr>
        <p:spPr>
          <a:xfrm>
            <a:off x="6395151" y="3127928"/>
            <a:ext cx="2755441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Die Trennung der Komponenten führt zu höherem Overhead in der Kommunikation, was den Entwicklungsaufwand erhöht.</a:t>
            </a:r>
            <a:endParaRPr lang="de-DE" sz="18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8" name="Titel 4">
            <a:extLst>
              <a:ext uri="{FF2B5EF4-FFF2-40B4-BE49-F238E27FC236}">
                <a16:creationId xmlns:a16="http://schemas.microsoft.com/office/drawing/2014/main" id="{6B8F9D47-F47B-CF4E-CDED-9777CBE258C6}"/>
              </a:ext>
            </a:extLst>
          </p:cNvPr>
          <p:cNvSpPr txBox="1">
            <a:spLocks/>
          </p:cNvSpPr>
          <p:nvPr/>
        </p:nvSpPr>
        <p:spPr bwMode="black">
          <a:xfrm>
            <a:off x="6470155" y="2635819"/>
            <a:ext cx="1920982" cy="5537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271" rtl="0" eaLnBrk="1" latinLnBrk="0" hangingPunct="1">
              <a:spcBef>
                <a:spcPts val="0"/>
              </a:spcBef>
              <a:buFont typeface="+mj-lt"/>
              <a:buNone/>
              <a:defRPr sz="3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800" b="1" dirty="0"/>
              <a:t>Overhead</a:t>
            </a: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10A1296C-6B68-551A-9DDC-D9D15B469BE7}"/>
              </a:ext>
            </a:extLst>
          </p:cNvPr>
          <p:cNvGrpSpPr/>
          <p:nvPr/>
        </p:nvGrpSpPr>
        <p:grpSpPr>
          <a:xfrm>
            <a:off x="4833230" y="2651812"/>
            <a:ext cx="625186" cy="604938"/>
            <a:chOff x="4041661" y="4175942"/>
            <a:chExt cx="363869" cy="352084"/>
          </a:xfrm>
          <a:solidFill>
            <a:srgbClr val="6F7479"/>
          </a:solidFill>
        </p:grpSpPr>
        <p:sp>
          <p:nvSpPr>
            <p:cNvPr id="10" name="Freeform 322">
              <a:extLst>
                <a:ext uri="{FF2B5EF4-FFF2-40B4-BE49-F238E27FC236}">
                  <a16:creationId xmlns:a16="http://schemas.microsoft.com/office/drawing/2014/main" id="{E4366DEF-4C90-FC7D-CEFA-ADDC9966FB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80137" y="4309999"/>
              <a:ext cx="86917" cy="85443"/>
            </a:xfrm>
            <a:custGeom>
              <a:avLst/>
              <a:gdLst>
                <a:gd name="T0" fmla="*/ 46 w 92"/>
                <a:gd name="T1" fmla="*/ 91 h 91"/>
                <a:gd name="T2" fmla="*/ 0 w 92"/>
                <a:gd name="T3" fmla="*/ 46 h 91"/>
                <a:gd name="T4" fmla="*/ 46 w 92"/>
                <a:gd name="T5" fmla="*/ 0 h 91"/>
                <a:gd name="T6" fmla="*/ 92 w 92"/>
                <a:gd name="T7" fmla="*/ 46 h 91"/>
                <a:gd name="T8" fmla="*/ 46 w 92"/>
                <a:gd name="T9" fmla="*/ 91 h 91"/>
                <a:gd name="T10" fmla="*/ 46 w 92"/>
                <a:gd name="T11" fmla="*/ 8 h 91"/>
                <a:gd name="T12" fmla="*/ 9 w 92"/>
                <a:gd name="T13" fmla="*/ 46 h 91"/>
                <a:gd name="T14" fmla="*/ 46 w 92"/>
                <a:gd name="T15" fmla="*/ 83 h 91"/>
                <a:gd name="T16" fmla="*/ 83 w 92"/>
                <a:gd name="T17" fmla="*/ 46 h 91"/>
                <a:gd name="T18" fmla="*/ 46 w 92"/>
                <a:gd name="T19" fmla="*/ 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2" h="91">
                  <a:moveTo>
                    <a:pt x="46" y="91"/>
                  </a:moveTo>
                  <a:cubicBezTo>
                    <a:pt x="21" y="91"/>
                    <a:pt x="0" y="71"/>
                    <a:pt x="0" y="46"/>
                  </a:cubicBezTo>
                  <a:cubicBezTo>
                    <a:pt x="0" y="20"/>
                    <a:pt x="21" y="0"/>
                    <a:pt x="46" y="0"/>
                  </a:cubicBezTo>
                  <a:cubicBezTo>
                    <a:pt x="71" y="0"/>
                    <a:pt x="92" y="20"/>
                    <a:pt x="92" y="46"/>
                  </a:cubicBezTo>
                  <a:cubicBezTo>
                    <a:pt x="92" y="71"/>
                    <a:pt x="71" y="91"/>
                    <a:pt x="46" y="91"/>
                  </a:cubicBezTo>
                  <a:close/>
                  <a:moveTo>
                    <a:pt x="46" y="8"/>
                  </a:moveTo>
                  <a:cubicBezTo>
                    <a:pt x="26" y="8"/>
                    <a:pt x="9" y="25"/>
                    <a:pt x="9" y="46"/>
                  </a:cubicBezTo>
                  <a:cubicBezTo>
                    <a:pt x="9" y="66"/>
                    <a:pt x="26" y="83"/>
                    <a:pt x="46" y="83"/>
                  </a:cubicBezTo>
                  <a:cubicBezTo>
                    <a:pt x="67" y="83"/>
                    <a:pt x="83" y="66"/>
                    <a:pt x="83" y="46"/>
                  </a:cubicBezTo>
                  <a:cubicBezTo>
                    <a:pt x="83" y="25"/>
                    <a:pt x="67" y="8"/>
                    <a:pt x="46" y="8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11" name="Freeform 323">
              <a:extLst>
                <a:ext uri="{FF2B5EF4-FFF2-40B4-BE49-F238E27FC236}">
                  <a16:creationId xmlns:a16="http://schemas.microsoft.com/office/drawing/2014/main" id="{66AF601E-B7C9-528A-5AA2-47A963FA10C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5231" y="4270224"/>
              <a:ext cx="340299" cy="257802"/>
            </a:xfrm>
            <a:custGeom>
              <a:avLst/>
              <a:gdLst>
                <a:gd name="T0" fmla="*/ 301 w 365"/>
                <a:gd name="T1" fmla="*/ 274 h 274"/>
                <a:gd name="T2" fmla="*/ 299 w 365"/>
                <a:gd name="T3" fmla="*/ 258 h 274"/>
                <a:gd name="T4" fmla="*/ 0 w 365"/>
                <a:gd name="T5" fmla="*/ 96 h 274"/>
                <a:gd name="T6" fmla="*/ 7 w 365"/>
                <a:gd name="T7" fmla="*/ 67 h 274"/>
                <a:gd name="T8" fmla="*/ 8 w 365"/>
                <a:gd name="T9" fmla="*/ 96 h 274"/>
                <a:gd name="T10" fmla="*/ 303 w 365"/>
                <a:gd name="T11" fmla="*/ 249 h 274"/>
                <a:gd name="T12" fmla="*/ 307 w 365"/>
                <a:gd name="T13" fmla="*/ 261 h 274"/>
                <a:gd name="T14" fmla="*/ 307 w 365"/>
                <a:gd name="T15" fmla="*/ 187 h 274"/>
                <a:gd name="T16" fmla="*/ 303 w 365"/>
                <a:gd name="T17" fmla="*/ 200 h 274"/>
                <a:gd name="T18" fmla="*/ 154 w 365"/>
                <a:gd name="T19" fmla="*/ 194 h 274"/>
                <a:gd name="T20" fmla="*/ 138 w 365"/>
                <a:gd name="T21" fmla="*/ 216 h 274"/>
                <a:gd name="T22" fmla="*/ 96 w 365"/>
                <a:gd name="T23" fmla="*/ 194 h 274"/>
                <a:gd name="T24" fmla="*/ 82 w 365"/>
                <a:gd name="T25" fmla="*/ 152 h 274"/>
                <a:gd name="T26" fmla="*/ 55 w 365"/>
                <a:gd name="T27" fmla="*/ 156 h 274"/>
                <a:gd name="T28" fmla="*/ 41 w 365"/>
                <a:gd name="T29" fmla="*/ 111 h 274"/>
                <a:gd name="T30" fmla="*/ 61 w 365"/>
                <a:gd name="T31" fmla="*/ 71 h 274"/>
                <a:gd name="T32" fmla="*/ 39 w 365"/>
                <a:gd name="T33" fmla="*/ 56 h 274"/>
                <a:gd name="T34" fmla="*/ 61 w 365"/>
                <a:gd name="T35" fmla="*/ 13 h 274"/>
                <a:gd name="T36" fmla="*/ 100 w 365"/>
                <a:gd name="T37" fmla="*/ 1 h 274"/>
                <a:gd name="T38" fmla="*/ 106 w 365"/>
                <a:gd name="T39" fmla="*/ 8 h 274"/>
                <a:gd name="T40" fmla="*/ 82 w 365"/>
                <a:gd name="T41" fmla="*/ 29 h 274"/>
                <a:gd name="T42" fmla="*/ 48 w 365"/>
                <a:gd name="T43" fmla="*/ 55 h 274"/>
                <a:gd name="T44" fmla="*/ 70 w 365"/>
                <a:gd name="T45" fmla="*/ 70 h 274"/>
                <a:gd name="T46" fmla="*/ 67 w 365"/>
                <a:gd name="T47" fmla="*/ 107 h 274"/>
                <a:gd name="T48" fmla="*/ 62 w 365"/>
                <a:gd name="T49" fmla="*/ 150 h 274"/>
                <a:gd name="T50" fmla="*/ 87 w 365"/>
                <a:gd name="T51" fmla="*/ 144 h 274"/>
                <a:gd name="T52" fmla="*/ 112 w 365"/>
                <a:gd name="T53" fmla="*/ 172 h 274"/>
                <a:gd name="T54" fmla="*/ 138 w 365"/>
                <a:gd name="T55" fmla="*/ 207 h 274"/>
                <a:gd name="T56" fmla="*/ 153 w 365"/>
                <a:gd name="T57" fmla="*/ 185 h 274"/>
                <a:gd name="T58" fmla="*/ 299 w 365"/>
                <a:gd name="T59" fmla="*/ 191 h 274"/>
                <a:gd name="T60" fmla="*/ 301 w 365"/>
                <a:gd name="T61" fmla="*/ 175 h 274"/>
                <a:gd name="T62" fmla="*/ 363 w 365"/>
                <a:gd name="T63" fmla="*/ 217 h 274"/>
                <a:gd name="T64" fmla="*/ 364 w 365"/>
                <a:gd name="T65" fmla="*/ 224 h 274"/>
                <a:gd name="T66" fmla="*/ 303 w 365"/>
                <a:gd name="T67" fmla="*/ 27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65" h="274">
                  <a:moveTo>
                    <a:pt x="303" y="274"/>
                  </a:moveTo>
                  <a:cubicBezTo>
                    <a:pt x="302" y="274"/>
                    <a:pt x="302" y="274"/>
                    <a:pt x="301" y="274"/>
                  </a:cubicBezTo>
                  <a:cubicBezTo>
                    <a:pt x="300" y="273"/>
                    <a:pt x="299" y="272"/>
                    <a:pt x="299" y="270"/>
                  </a:cubicBezTo>
                  <a:cubicBezTo>
                    <a:pt x="299" y="258"/>
                    <a:pt x="299" y="258"/>
                    <a:pt x="299" y="258"/>
                  </a:cubicBezTo>
                  <a:cubicBezTo>
                    <a:pt x="162" y="258"/>
                    <a:pt x="162" y="258"/>
                    <a:pt x="162" y="258"/>
                  </a:cubicBezTo>
                  <a:cubicBezTo>
                    <a:pt x="73" y="258"/>
                    <a:pt x="0" y="185"/>
                    <a:pt x="0" y="96"/>
                  </a:cubicBezTo>
                  <a:cubicBezTo>
                    <a:pt x="0" y="87"/>
                    <a:pt x="1" y="79"/>
                    <a:pt x="2" y="70"/>
                  </a:cubicBezTo>
                  <a:cubicBezTo>
                    <a:pt x="2" y="68"/>
                    <a:pt x="4" y="66"/>
                    <a:pt x="7" y="67"/>
                  </a:cubicBezTo>
                  <a:cubicBezTo>
                    <a:pt x="9" y="67"/>
                    <a:pt x="11" y="69"/>
                    <a:pt x="10" y="72"/>
                  </a:cubicBezTo>
                  <a:cubicBezTo>
                    <a:pt x="9" y="80"/>
                    <a:pt x="8" y="88"/>
                    <a:pt x="8" y="96"/>
                  </a:cubicBezTo>
                  <a:cubicBezTo>
                    <a:pt x="8" y="180"/>
                    <a:pt x="77" y="249"/>
                    <a:pt x="162" y="249"/>
                  </a:cubicBezTo>
                  <a:cubicBezTo>
                    <a:pt x="303" y="249"/>
                    <a:pt x="303" y="249"/>
                    <a:pt x="303" y="249"/>
                  </a:cubicBezTo>
                  <a:cubicBezTo>
                    <a:pt x="305" y="249"/>
                    <a:pt x="307" y="251"/>
                    <a:pt x="307" y="254"/>
                  </a:cubicBezTo>
                  <a:cubicBezTo>
                    <a:pt x="307" y="261"/>
                    <a:pt x="307" y="261"/>
                    <a:pt x="307" y="261"/>
                  </a:cubicBezTo>
                  <a:cubicBezTo>
                    <a:pt x="354" y="221"/>
                    <a:pt x="354" y="221"/>
                    <a:pt x="354" y="221"/>
                  </a:cubicBezTo>
                  <a:cubicBezTo>
                    <a:pt x="307" y="187"/>
                    <a:pt x="307" y="187"/>
                    <a:pt x="307" y="187"/>
                  </a:cubicBezTo>
                  <a:cubicBezTo>
                    <a:pt x="307" y="195"/>
                    <a:pt x="307" y="195"/>
                    <a:pt x="307" y="195"/>
                  </a:cubicBezTo>
                  <a:cubicBezTo>
                    <a:pt x="307" y="198"/>
                    <a:pt x="305" y="200"/>
                    <a:pt x="303" y="200"/>
                  </a:cubicBezTo>
                  <a:cubicBezTo>
                    <a:pt x="220" y="200"/>
                    <a:pt x="220" y="200"/>
                    <a:pt x="220" y="200"/>
                  </a:cubicBezTo>
                  <a:cubicBezTo>
                    <a:pt x="215" y="200"/>
                    <a:pt x="174" y="199"/>
                    <a:pt x="154" y="194"/>
                  </a:cubicBezTo>
                  <a:cubicBezTo>
                    <a:pt x="144" y="214"/>
                    <a:pt x="144" y="214"/>
                    <a:pt x="144" y="214"/>
                  </a:cubicBezTo>
                  <a:cubicBezTo>
                    <a:pt x="143" y="216"/>
                    <a:pt x="140" y="217"/>
                    <a:pt x="138" y="216"/>
                  </a:cubicBezTo>
                  <a:cubicBezTo>
                    <a:pt x="98" y="199"/>
                    <a:pt x="98" y="199"/>
                    <a:pt x="98" y="199"/>
                  </a:cubicBezTo>
                  <a:cubicBezTo>
                    <a:pt x="96" y="198"/>
                    <a:pt x="95" y="196"/>
                    <a:pt x="96" y="194"/>
                  </a:cubicBezTo>
                  <a:cubicBezTo>
                    <a:pt x="103" y="172"/>
                    <a:pt x="103" y="172"/>
                    <a:pt x="103" y="172"/>
                  </a:cubicBezTo>
                  <a:cubicBezTo>
                    <a:pt x="95" y="166"/>
                    <a:pt x="88" y="159"/>
                    <a:pt x="82" y="152"/>
                  </a:cubicBezTo>
                  <a:cubicBezTo>
                    <a:pt x="61" y="159"/>
                    <a:pt x="61" y="159"/>
                    <a:pt x="61" y="159"/>
                  </a:cubicBezTo>
                  <a:cubicBezTo>
                    <a:pt x="58" y="160"/>
                    <a:pt x="56" y="158"/>
                    <a:pt x="55" y="156"/>
                  </a:cubicBezTo>
                  <a:cubicBezTo>
                    <a:pt x="39" y="116"/>
                    <a:pt x="39" y="116"/>
                    <a:pt x="39" y="116"/>
                  </a:cubicBezTo>
                  <a:cubicBezTo>
                    <a:pt x="38" y="114"/>
                    <a:pt x="39" y="112"/>
                    <a:pt x="41" y="111"/>
                  </a:cubicBezTo>
                  <a:cubicBezTo>
                    <a:pt x="61" y="101"/>
                    <a:pt x="61" y="101"/>
                    <a:pt x="61" y="101"/>
                  </a:cubicBezTo>
                  <a:cubicBezTo>
                    <a:pt x="60" y="91"/>
                    <a:pt x="60" y="81"/>
                    <a:pt x="61" y="7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39" y="60"/>
                    <a:pt x="38" y="58"/>
                    <a:pt x="39" y="56"/>
                  </a:cubicBezTo>
                  <a:cubicBezTo>
                    <a:pt x="55" y="15"/>
                    <a:pt x="55" y="15"/>
                    <a:pt x="55" y="15"/>
                  </a:cubicBezTo>
                  <a:cubicBezTo>
                    <a:pt x="56" y="13"/>
                    <a:pt x="58" y="12"/>
                    <a:pt x="61" y="13"/>
                  </a:cubicBezTo>
                  <a:cubicBezTo>
                    <a:pt x="82" y="20"/>
                    <a:pt x="82" y="20"/>
                    <a:pt x="82" y="20"/>
                  </a:cubicBezTo>
                  <a:cubicBezTo>
                    <a:pt x="87" y="13"/>
                    <a:pt x="94" y="7"/>
                    <a:pt x="100" y="1"/>
                  </a:cubicBezTo>
                  <a:cubicBezTo>
                    <a:pt x="102" y="0"/>
                    <a:pt x="105" y="0"/>
                    <a:pt x="106" y="2"/>
                  </a:cubicBezTo>
                  <a:cubicBezTo>
                    <a:pt x="108" y="4"/>
                    <a:pt x="108" y="6"/>
                    <a:pt x="106" y="8"/>
                  </a:cubicBezTo>
                  <a:cubicBezTo>
                    <a:pt x="99" y="14"/>
                    <a:pt x="92" y="20"/>
                    <a:pt x="87" y="28"/>
                  </a:cubicBezTo>
                  <a:cubicBezTo>
                    <a:pt x="86" y="29"/>
                    <a:pt x="84" y="30"/>
                    <a:pt x="82" y="29"/>
                  </a:cubicBezTo>
                  <a:cubicBezTo>
                    <a:pt x="62" y="22"/>
                    <a:pt x="62" y="22"/>
                    <a:pt x="62" y="22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67" y="65"/>
                    <a:pt x="67" y="65"/>
                    <a:pt x="67" y="65"/>
                  </a:cubicBezTo>
                  <a:cubicBezTo>
                    <a:pt x="69" y="66"/>
                    <a:pt x="70" y="68"/>
                    <a:pt x="70" y="70"/>
                  </a:cubicBezTo>
                  <a:cubicBezTo>
                    <a:pt x="68" y="80"/>
                    <a:pt x="68" y="91"/>
                    <a:pt x="70" y="102"/>
                  </a:cubicBezTo>
                  <a:cubicBezTo>
                    <a:pt x="70" y="104"/>
                    <a:pt x="69" y="106"/>
                    <a:pt x="67" y="107"/>
                  </a:cubicBezTo>
                  <a:cubicBezTo>
                    <a:pt x="48" y="117"/>
                    <a:pt x="48" y="117"/>
                    <a:pt x="48" y="117"/>
                  </a:cubicBezTo>
                  <a:cubicBezTo>
                    <a:pt x="62" y="150"/>
                    <a:pt x="62" y="150"/>
                    <a:pt x="62" y="150"/>
                  </a:cubicBezTo>
                  <a:cubicBezTo>
                    <a:pt x="82" y="143"/>
                    <a:pt x="82" y="143"/>
                    <a:pt x="82" y="143"/>
                  </a:cubicBezTo>
                  <a:cubicBezTo>
                    <a:pt x="84" y="142"/>
                    <a:pt x="86" y="143"/>
                    <a:pt x="87" y="144"/>
                  </a:cubicBezTo>
                  <a:cubicBezTo>
                    <a:pt x="93" y="153"/>
                    <a:pt x="101" y="161"/>
                    <a:pt x="110" y="167"/>
                  </a:cubicBezTo>
                  <a:cubicBezTo>
                    <a:pt x="112" y="168"/>
                    <a:pt x="112" y="170"/>
                    <a:pt x="112" y="172"/>
                  </a:cubicBezTo>
                  <a:cubicBezTo>
                    <a:pt x="105" y="193"/>
                    <a:pt x="105" y="193"/>
                    <a:pt x="105" y="193"/>
                  </a:cubicBezTo>
                  <a:cubicBezTo>
                    <a:pt x="138" y="207"/>
                    <a:pt x="138" y="207"/>
                    <a:pt x="138" y="207"/>
                  </a:cubicBezTo>
                  <a:cubicBezTo>
                    <a:pt x="148" y="187"/>
                    <a:pt x="148" y="187"/>
                    <a:pt x="148" y="187"/>
                  </a:cubicBezTo>
                  <a:cubicBezTo>
                    <a:pt x="149" y="185"/>
                    <a:pt x="151" y="184"/>
                    <a:pt x="153" y="185"/>
                  </a:cubicBezTo>
                  <a:cubicBezTo>
                    <a:pt x="167" y="190"/>
                    <a:pt x="202" y="191"/>
                    <a:pt x="220" y="191"/>
                  </a:cubicBezTo>
                  <a:cubicBezTo>
                    <a:pt x="299" y="191"/>
                    <a:pt x="299" y="191"/>
                    <a:pt x="299" y="191"/>
                  </a:cubicBezTo>
                  <a:cubicBezTo>
                    <a:pt x="299" y="179"/>
                    <a:pt x="299" y="179"/>
                    <a:pt x="299" y="179"/>
                  </a:cubicBezTo>
                  <a:cubicBezTo>
                    <a:pt x="299" y="177"/>
                    <a:pt x="300" y="176"/>
                    <a:pt x="301" y="175"/>
                  </a:cubicBezTo>
                  <a:cubicBezTo>
                    <a:pt x="302" y="174"/>
                    <a:pt x="304" y="174"/>
                    <a:pt x="305" y="175"/>
                  </a:cubicBezTo>
                  <a:cubicBezTo>
                    <a:pt x="363" y="217"/>
                    <a:pt x="363" y="217"/>
                    <a:pt x="363" y="217"/>
                  </a:cubicBezTo>
                  <a:cubicBezTo>
                    <a:pt x="365" y="218"/>
                    <a:pt x="365" y="219"/>
                    <a:pt x="365" y="220"/>
                  </a:cubicBezTo>
                  <a:cubicBezTo>
                    <a:pt x="365" y="221"/>
                    <a:pt x="365" y="223"/>
                    <a:pt x="364" y="224"/>
                  </a:cubicBezTo>
                  <a:cubicBezTo>
                    <a:pt x="306" y="273"/>
                    <a:pt x="306" y="273"/>
                    <a:pt x="306" y="273"/>
                  </a:cubicBezTo>
                  <a:cubicBezTo>
                    <a:pt x="305" y="274"/>
                    <a:pt x="304" y="274"/>
                    <a:pt x="303" y="274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14" name="Freeform 324">
              <a:extLst>
                <a:ext uri="{FF2B5EF4-FFF2-40B4-BE49-F238E27FC236}">
                  <a16:creationId xmlns:a16="http://schemas.microsoft.com/office/drawing/2014/main" id="{D527D31D-DFD5-A07E-0936-699933643A2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1661" y="4175942"/>
              <a:ext cx="340299" cy="257802"/>
            </a:xfrm>
            <a:custGeom>
              <a:avLst/>
              <a:gdLst>
                <a:gd name="T0" fmla="*/ 259 w 365"/>
                <a:gd name="T1" fmla="*/ 273 h 275"/>
                <a:gd name="T2" fmla="*/ 278 w 365"/>
                <a:gd name="T3" fmla="*/ 247 h 275"/>
                <a:gd name="T4" fmla="*/ 304 w 365"/>
                <a:gd name="T5" fmla="*/ 253 h 275"/>
                <a:gd name="T6" fmla="*/ 298 w 365"/>
                <a:gd name="T7" fmla="*/ 210 h 275"/>
                <a:gd name="T8" fmla="*/ 296 w 365"/>
                <a:gd name="T9" fmla="*/ 173 h 275"/>
                <a:gd name="T10" fmla="*/ 317 w 365"/>
                <a:gd name="T11" fmla="*/ 158 h 275"/>
                <a:gd name="T12" fmla="*/ 283 w 365"/>
                <a:gd name="T13" fmla="*/ 132 h 275"/>
                <a:gd name="T14" fmla="*/ 255 w 365"/>
                <a:gd name="T15" fmla="*/ 108 h 275"/>
                <a:gd name="T16" fmla="*/ 260 w 365"/>
                <a:gd name="T17" fmla="*/ 82 h 275"/>
                <a:gd name="T18" fmla="*/ 218 w 365"/>
                <a:gd name="T19" fmla="*/ 88 h 275"/>
                <a:gd name="T20" fmla="*/ 145 w 365"/>
                <a:gd name="T21" fmla="*/ 84 h 275"/>
                <a:gd name="T22" fmla="*/ 67 w 365"/>
                <a:gd name="T23" fmla="*/ 96 h 275"/>
                <a:gd name="T24" fmla="*/ 60 w 365"/>
                <a:gd name="T25" fmla="*/ 100 h 275"/>
                <a:gd name="T26" fmla="*/ 0 w 365"/>
                <a:gd name="T27" fmla="*/ 55 h 275"/>
                <a:gd name="T28" fmla="*/ 60 w 365"/>
                <a:gd name="T29" fmla="*/ 2 h 275"/>
                <a:gd name="T30" fmla="*/ 67 w 365"/>
                <a:gd name="T31" fmla="*/ 5 h 275"/>
                <a:gd name="T32" fmla="*/ 203 w 365"/>
                <a:gd name="T33" fmla="*/ 17 h 275"/>
                <a:gd name="T34" fmla="*/ 362 w 365"/>
                <a:gd name="T35" fmla="*/ 213 h 275"/>
                <a:gd name="T36" fmla="*/ 353 w 365"/>
                <a:gd name="T37" fmla="*/ 212 h 275"/>
                <a:gd name="T38" fmla="*/ 203 w 365"/>
                <a:gd name="T39" fmla="*/ 26 h 275"/>
                <a:gd name="T40" fmla="*/ 58 w 365"/>
                <a:gd name="T41" fmla="*/ 22 h 275"/>
                <a:gd name="T42" fmla="*/ 11 w 365"/>
                <a:gd name="T43" fmla="*/ 54 h 275"/>
                <a:gd name="T44" fmla="*/ 58 w 365"/>
                <a:gd name="T45" fmla="*/ 80 h 275"/>
                <a:gd name="T46" fmla="*/ 145 w 365"/>
                <a:gd name="T47" fmla="*/ 75 h 275"/>
                <a:gd name="T48" fmla="*/ 222 w 365"/>
                <a:gd name="T49" fmla="*/ 61 h 275"/>
                <a:gd name="T50" fmla="*/ 267 w 365"/>
                <a:gd name="T51" fmla="*/ 76 h 275"/>
                <a:gd name="T52" fmla="*/ 262 w 365"/>
                <a:gd name="T53" fmla="*/ 103 h 275"/>
                <a:gd name="T54" fmla="*/ 305 w 365"/>
                <a:gd name="T55" fmla="*/ 116 h 275"/>
                <a:gd name="T56" fmla="*/ 327 w 365"/>
                <a:gd name="T57" fmla="*/ 159 h 275"/>
                <a:gd name="T58" fmla="*/ 304 w 365"/>
                <a:gd name="T59" fmla="*/ 174 h 275"/>
                <a:gd name="T60" fmla="*/ 325 w 365"/>
                <a:gd name="T61" fmla="*/ 214 h 275"/>
                <a:gd name="T62" fmla="*/ 310 w 365"/>
                <a:gd name="T63" fmla="*/ 260 h 275"/>
                <a:gd name="T64" fmla="*/ 283 w 365"/>
                <a:gd name="T65" fmla="*/ 255 h 275"/>
                <a:gd name="T66" fmla="*/ 262 w 365"/>
                <a:gd name="T67" fmla="*/ 275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65" h="275">
                  <a:moveTo>
                    <a:pt x="262" y="275"/>
                  </a:moveTo>
                  <a:cubicBezTo>
                    <a:pt x="261" y="275"/>
                    <a:pt x="260" y="274"/>
                    <a:pt x="259" y="273"/>
                  </a:cubicBezTo>
                  <a:cubicBezTo>
                    <a:pt x="257" y="271"/>
                    <a:pt x="258" y="269"/>
                    <a:pt x="260" y="267"/>
                  </a:cubicBezTo>
                  <a:cubicBezTo>
                    <a:pt x="267" y="261"/>
                    <a:pt x="273" y="255"/>
                    <a:pt x="278" y="247"/>
                  </a:cubicBezTo>
                  <a:cubicBezTo>
                    <a:pt x="279" y="246"/>
                    <a:pt x="281" y="245"/>
                    <a:pt x="283" y="246"/>
                  </a:cubicBezTo>
                  <a:cubicBezTo>
                    <a:pt x="304" y="253"/>
                    <a:pt x="304" y="253"/>
                    <a:pt x="304" y="253"/>
                  </a:cubicBezTo>
                  <a:cubicBezTo>
                    <a:pt x="317" y="220"/>
                    <a:pt x="317" y="220"/>
                    <a:pt x="317" y="220"/>
                  </a:cubicBezTo>
                  <a:cubicBezTo>
                    <a:pt x="298" y="210"/>
                    <a:pt x="298" y="210"/>
                    <a:pt x="298" y="210"/>
                  </a:cubicBezTo>
                  <a:cubicBezTo>
                    <a:pt x="296" y="209"/>
                    <a:pt x="295" y="207"/>
                    <a:pt x="296" y="206"/>
                  </a:cubicBezTo>
                  <a:cubicBezTo>
                    <a:pt x="297" y="195"/>
                    <a:pt x="297" y="184"/>
                    <a:pt x="296" y="173"/>
                  </a:cubicBezTo>
                  <a:cubicBezTo>
                    <a:pt x="295" y="171"/>
                    <a:pt x="296" y="169"/>
                    <a:pt x="298" y="168"/>
                  </a:cubicBezTo>
                  <a:cubicBezTo>
                    <a:pt x="317" y="158"/>
                    <a:pt x="317" y="158"/>
                    <a:pt x="317" y="158"/>
                  </a:cubicBezTo>
                  <a:cubicBezTo>
                    <a:pt x="304" y="126"/>
                    <a:pt x="304" y="126"/>
                    <a:pt x="304" y="126"/>
                  </a:cubicBezTo>
                  <a:cubicBezTo>
                    <a:pt x="283" y="132"/>
                    <a:pt x="283" y="132"/>
                    <a:pt x="283" y="132"/>
                  </a:cubicBezTo>
                  <a:cubicBezTo>
                    <a:pt x="281" y="133"/>
                    <a:pt x="279" y="132"/>
                    <a:pt x="278" y="131"/>
                  </a:cubicBezTo>
                  <a:cubicBezTo>
                    <a:pt x="272" y="122"/>
                    <a:pt x="264" y="114"/>
                    <a:pt x="255" y="108"/>
                  </a:cubicBezTo>
                  <a:cubicBezTo>
                    <a:pt x="253" y="107"/>
                    <a:pt x="253" y="105"/>
                    <a:pt x="253" y="103"/>
                  </a:cubicBezTo>
                  <a:cubicBezTo>
                    <a:pt x="260" y="82"/>
                    <a:pt x="260" y="82"/>
                    <a:pt x="260" y="82"/>
                  </a:cubicBezTo>
                  <a:cubicBezTo>
                    <a:pt x="227" y="69"/>
                    <a:pt x="227" y="69"/>
                    <a:pt x="227" y="69"/>
                  </a:cubicBezTo>
                  <a:cubicBezTo>
                    <a:pt x="218" y="88"/>
                    <a:pt x="218" y="88"/>
                    <a:pt x="218" y="88"/>
                  </a:cubicBezTo>
                  <a:cubicBezTo>
                    <a:pt x="217" y="90"/>
                    <a:pt x="214" y="91"/>
                    <a:pt x="212" y="90"/>
                  </a:cubicBezTo>
                  <a:cubicBezTo>
                    <a:pt x="199" y="85"/>
                    <a:pt x="164" y="84"/>
                    <a:pt x="145" y="84"/>
                  </a:cubicBezTo>
                  <a:cubicBezTo>
                    <a:pt x="67" y="84"/>
                    <a:pt x="67" y="84"/>
                    <a:pt x="67" y="84"/>
                  </a:cubicBezTo>
                  <a:cubicBezTo>
                    <a:pt x="67" y="96"/>
                    <a:pt x="67" y="96"/>
                    <a:pt x="67" y="96"/>
                  </a:cubicBezTo>
                  <a:cubicBezTo>
                    <a:pt x="67" y="98"/>
                    <a:pt x="66" y="99"/>
                    <a:pt x="64" y="100"/>
                  </a:cubicBezTo>
                  <a:cubicBezTo>
                    <a:pt x="63" y="101"/>
                    <a:pt x="61" y="101"/>
                    <a:pt x="60" y="100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1" y="57"/>
                    <a:pt x="0" y="56"/>
                    <a:pt x="0" y="55"/>
                  </a:cubicBezTo>
                  <a:cubicBezTo>
                    <a:pt x="0" y="54"/>
                    <a:pt x="1" y="52"/>
                    <a:pt x="2" y="52"/>
                  </a:cubicBezTo>
                  <a:cubicBezTo>
                    <a:pt x="60" y="2"/>
                    <a:pt x="60" y="2"/>
                    <a:pt x="60" y="2"/>
                  </a:cubicBezTo>
                  <a:cubicBezTo>
                    <a:pt x="61" y="1"/>
                    <a:pt x="63" y="0"/>
                    <a:pt x="64" y="1"/>
                  </a:cubicBezTo>
                  <a:cubicBezTo>
                    <a:pt x="66" y="2"/>
                    <a:pt x="67" y="3"/>
                    <a:pt x="67" y="5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203" y="17"/>
                    <a:pt x="203" y="17"/>
                    <a:pt x="203" y="17"/>
                  </a:cubicBezTo>
                  <a:cubicBezTo>
                    <a:pt x="293" y="17"/>
                    <a:pt x="365" y="90"/>
                    <a:pt x="365" y="179"/>
                  </a:cubicBezTo>
                  <a:cubicBezTo>
                    <a:pt x="365" y="191"/>
                    <a:pt x="364" y="202"/>
                    <a:pt x="362" y="213"/>
                  </a:cubicBezTo>
                  <a:cubicBezTo>
                    <a:pt x="361" y="216"/>
                    <a:pt x="359" y="217"/>
                    <a:pt x="357" y="217"/>
                  </a:cubicBezTo>
                  <a:cubicBezTo>
                    <a:pt x="354" y="216"/>
                    <a:pt x="353" y="214"/>
                    <a:pt x="353" y="212"/>
                  </a:cubicBezTo>
                  <a:cubicBezTo>
                    <a:pt x="356" y="201"/>
                    <a:pt x="357" y="190"/>
                    <a:pt x="357" y="179"/>
                  </a:cubicBezTo>
                  <a:cubicBezTo>
                    <a:pt x="357" y="95"/>
                    <a:pt x="288" y="26"/>
                    <a:pt x="203" y="26"/>
                  </a:cubicBezTo>
                  <a:cubicBezTo>
                    <a:pt x="62" y="26"/>
                    <a:pt x="62" y="26"/>
                    <a:pt x="62" y="26"/>
                  </a:cubicBezTo>
                  <a:cubicBezTo>
                    <a:pt x="60" y="26"/>
                    <a:pt x="58" y="24"/>
                    <a:pt x="58" y="22"/>
                  </a:cubicBezTo>
                  <a:cubicBezTo>
                    <a:pt x="58" y="14"/>
                    <a:pt x="58" y="14"/>
                    <a:pt x="58" y="14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58" y="88"/>
                    <a:pt x="58" y="88"/>
                    <a:pt x="58" y="88"/>
                  </a:cubicBezTo>
                  <a:cubicBezTo>
                    <a:pt x="58" y="80"/>
                    <a:pt x="58" y="80"/>
                    <a:pt x="58" y="80"/>
                  </a:cubicBezTo>
                  <a:cubicBezTo>
                    <a:pt x="58" y="77"/>
                    <a:pt x="60" y="75"/>
                    <a:pt x="62" y="75"/>
                  </a:cubicBezTo>
                  <a:cubicBezTo>
                    <a:pt x="145" y="75"/>
                    <a:pt x="145" y="75"/>
                    <a:pt x="145" y="75"/>
                  </a:cubicBezTo>
                  <a:cubicBezTo>
                    <a:pt x="150" y="75"/>
                    <a:pt x="191" y="76"/>
                    <a:pt x="212" y="81"/>
                  </a:cubicBezTo>
                  <a:cubicBezTo>
                    <a:pt x="222" y="61"/>
                    <a:pt x="222" y="61"/>
                    <a:pt x="222" y="61"/>
                  </a:cubicBezTo>
                  <a:cubicBezTo>
                    <a:pt x="223" y="59"/>
                    <a:pt x="225" y="58"/>
                    <a:pt x="227" y="59"/>
                  </a:cubicBezTo>
                  <a:cubicBezTo>
                    <a:pt x="267" y="76"/>
                    <a:pt x="267" y="76"/>
                    <a:pt x="267" y="76"/>
                  </a:cubicBezTo>
                  <a:cubicBezTo>
                    <a:pt x="269" y="77"/>
                    <a:pt x="270" y="79"/>
                    <a:pt x="270" y="81"/>
                  </a:cubicBezTo>
                  <a:cubicBezTo>
                    <a:pt x="262" y="103"/>
                    <a:pt x="262" y="103"/>
                    <a:pt x="262" y="103"/>
                  </a:cubicBezTo>
                  <a:cubicBezTo>
                    <a:pt x="270" y="109"/>
                    <a:pt x="277" y="116"/>
                    <a:pt x="283" y="123"/>
                  </a:cubicBezTo>
                  <a:cubicBezTo>
                    <a:pt x="305" y="116"/>
                    <a:pt x="305" y="116"/>
                    <a:pt x="305" y="116"/>
                  </a:cubicBezTo>
                  <a:cubicBezTo>
                    <a:pt x="307" y="116"/>
                    <a:pt x="309" y="117"/>
                    <a:pt x="310" y="119"/>
                  </a:cubicBezTo>
                  <a:cubicBezTo>
                    <a:pt x="327" y="159"/>
                    <a:pt x="327" y="159"/>
                    <a:pt x="327" y="159"/>
                  </a:cubicBezTo>
                  <a:cubicBezTo>
                    <a:pt x="328" y="161"/>
                    <a:pt x="327" y="163"/>
                    <a:pt x="325" y="164"/>
                  </a:cubicBezTo>
                  <a:cubicBezTo>
                    <a:pt x="304" y="174"/>
                    <a:pt x="304" y="174"/>
                    <a:pt x="304" y="174"/>
                  </a:cubicBezTo>
                  <a:cubicBezTo>
                    <a:pt x="306" y="184"/>
                    <a:pt x="306" y="194"/>
                    <a:pt x="304" y="204"/>
                  </a:cubicBezTo>
                  <a:cubicBezTo>
                    <a:pt x="325" y="214"/>
                    <a:pt x="325" y="214"/>
                    <a:pt x="325" y="214"/>
                  </a:cubicBezTo>
                  <a:cubicBezTo>
                    <a:pt x="327" y="215"/>
                    <a:pt x="328" y="217"/>
                    <a:pt x="327" y="219"/>
                  </a:cubicBezTo>
                  <a:cubicBezTo>
                    <a:pt x="310" y="260"/>
                    <a:pt x="310" y="260"/>
                    <a:pt x="310" y="260"/>
                  </a:cubicBezTo>
                  <a:cubicBezTo>
                    <a:pt x="309" y="262"/>
                    <a:pt x="307" y="263"/>
                    <a:pt x="305" y="262"/>
                  </a:cubicBezTo>
                  <a:cubicBezTo>
                    <a:pt x="283" y="255"/>
                    <a:pt x="283" y="255"/>
                    <a:pt x="283" y="255"/>
                  </a:cubicBezTo>
                  <a:cubicBezTo>
                    <a:pt x="278" y="262"/>
                    <a:pt x="272" y="268"/>
                    <a:pt x="265" y="274"/>
                  </a:cubicBezTo>
                  <a:cubicBezTo>
                    <a:pt x="264" y="274"/>
                    <a:pt x="263" y="275"/>
                    <a:pt x="262" y="275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AB6D9020-CF62-D046-9315-0EF1A0D882AF}"/>
              </a:ext>
            </a:extLst>
          </p:cNvPr>
          <p:cNvGrpSpPr/>
          <p:nvPr/>
        </p:nvGrpSpPr>
        <p:grpSpPr>
          <a:xfrm>
            <a:off x="8483606" y="2635881"/>
            <a:ext cx="574517" cy="532053"/>
            <a:chOff x="8464069" y="4193620"/>
            <a:chExt cx="338825" cy="313782"/>
          </a:xfrm>
          <a:solidFill>
            <a:srgbClr val="6F7479"/>
          </a:solidFill>
        </p:grpSpPr>
        <p:sp>
          <p:nvSpPr>
            <p:cNvPr id="16" name="Freeform 469">
              <a:extLst>
                <a:ext uri="{FF2B5EF4-FFF2-40B4-BE49-F238E27FC236}">
                  <a16:creationId xmlns:a16="http://schemas.microsoft.com/office/drawing/2014/main" id="{D7CAD55F-62D9-21FD-6AC8-C39EDE454D87}"/>
                </a:ext>
              </a:extLst>
            </p:cNvPr>
            <p:cNvSpPr>
              <a:spLocks/>
            </p:cNvSpPr>
            <p:nvPr/>
          </p:nvSpPr>
          <p:spPr bwMode="auto">
            <a:xfrm>
              <a:off x="8701246" y="4379237"/>
              <a:ext cx="8839" cy="39776"/>
            </a:xfrm>
            <a:custGeom>
              <a:avLst/>
              <a:gdLst>
                <a:gd name="T0" fmla="*/ 4 w 9"/>
                <a:gd name="T1" fmla="*/ 42 h 42"/>
                <a:gd name="T2" fmla="*/ 0 w 9"/>
                <a:gd name="T3" fmla="*/ 37 h 42"/>
                <a:gd name="T4" fmla="*/ 0 w 9"/>
                <a:gd name="T5" fmla="*/ 4 h 42"/>
                <a:gd name="T6" fmla="*/ 4 w 9"/>
                <a:gd name="T7" fmla="*/ 0 h 42"/>
                <a:gd name="T8" fmla="*/ 9 w 9"/>
                <a:gd name="T9" fmla="*/ 4 h 42"/>
                <a:gd name="T10" fmla="*/ 9 w 9"/>
                <a:gd name="T11" fmla="*/ 37 h 42"/>
                <a:gd name="T12" fmla="*/ 4 w 9"/>
                <a:gd name="T1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42">
                  <a:moveTo>
                    <a:pt x="4" y="42"/>
                  </a:moveTo>
                  <a:cubicBezTo>
                    <a:pt x="2" y="42"/>
                    <a:pt x="0" y="40"/>
                    <a:pt x="0" y="3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9" y="40"/>
                    <a:pt x="7" y="42"/>
                    <a:pt x="4" y="42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40" name="Freeform 470">
              <a:extLst>
                <a:ext uri="{FF2B5EF4-FFF2-40B4-BE49-F238E27FC236}">
                  <a16:creationId xmlns:a16="http://schemas.microsoft.com/office/drawing/2014/main" id="{D33CB192-237C-06DF-CBD9-5BE0F70E67E1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3931" y="4348301"/>
              <a:ext cx="7366" cy="70711"/>
            </a:xfrm>
            <a:custGeom>
              <a:avLst/>
              <a:gdLst>
                <a:gd name="T0" fmla="*/ 5 w 9"/>
                <a:gd name="T1" fmla="*/ 75 h 75"/>
                <a:gd name="T2" fmla="*/ 0 w 9"/>
                <a:gd name="T3" fmla="*/ 70 h 75"/>
                <a:gd name="T4" fmla="*/ 0 w 9"/>
                <a:gd name="T5" fmla="*/ 4 h 75"/>
                <a:gd name="T6" fmla="*/ 5 w 9"/>
                <a:gd name="T7" fmla="*/ 0 h 75"/>
                <a:gd name="T8" fmla="*/ 9 w 9"/>
                <a:gd name="T9" fmla="*/ 4 h 75"/>
                <a:gd name="T10" fmla="*/ 9 w 9"/>
                <a:gd name="T11" fmla="*/ 70 h 75"/>
                <a:gd name="T12" fmla="*/ 5 w 9"/>
                <a:gd name="T13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75">
                  <a:moveTo>
                    <a:pt x="5" y="75"/>
                  </a:moveTo>
                  <a:cubicBezTo>
                    <a:pt x="2" y="75"/>
                    <a:pt x="0" y="73"/>
                    <a:pt x="0" y="7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0"/>
                    <a:pt x="9" y="70"/>
                    <a:pt x="9" y="70"/>
                  </a:cubicBezTo>
                  <a:cubicBezTo>
                    <a:pt x="9" y="73"/>
                    <a:pt x="7" y="75"/>
                    <a:pt x="5" y="75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41" name="Freeform 471">
              <a:extLst>
                <a:ext uri="{FF2B5EF4-FFF2-40B4-BE49-F238E27FC236}">
                  <a16:creationId xmlns:a16="http://schemas.microsoft.com/office/drawing/2014/main" id="{BF773C63-B056-1D1D-37D0-8D2EC6409E6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2995" y="4371871"/>
              <a:ext cx="7366" cy="47141"/>
            </a:xfrm>
            <a:custGeom>
              <a:avLst/>
              <a:gdLst>
                <a:gd name="T0" fmla="*/ 5 w 9"/>
                <a:gd name="T1" fmla="*/ 50 h 50"/>
                <a:gd name="T2" fmla="*/ 0 w 9"/>
                <a:gd name="T3" fmla="*/ 45 h 50"/>
                <a:gd name="T4" fmla="*/ 0 w 9"/>
                <a:gd name="T5" fmla="*/ 4 h 50"/>
                <a:gd name="T6" fmla="*/ 5 w 9"/>
                <a:gd name="T7" fmla="*/ 0 h 50"/>
                <a:gd name="T8" fmla="*/ 9 w 9"/>
                <a:gd name="T9" fmla="*/ 4 h 50"/>
                <a:gd name="T10" fmla="*/ 9 w 9"/>
                <a:gd name="T11" fmla="*/ 45 h 50"/>
                <a:gd name="T12" fmla="*/ 5 w 9"/>
                <a:gd name="T1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50">
                  <a:moveTo>
                    <a:pt x="5" y="50"/>
                  </a:moveTo>
                  <a:cubicBezTo>
                    <a:pt x="2" y="50"/>
                    <a:pt x="0" y="48"/>
                    <a:pt x="0" y="4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5" y="0"/>
                  </a:cubicBezTo>
                  <a:cubicBezTo>
                    <a:pt x="7" y="0"/>
                    <a:pt x="9" y="1"/>
                    <a:pt x="9" y="4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8"/>
                    <a:pt x="7" y="50"/>
                    <a:pt x="5" y="50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42" name="Freeform 472">
              <a:extLst>
                <a:ext uri="{FF2B5EF4-FFF2-40B4-BE49-F238E27FC236}">
                  <a16:creationId xmlns:a16="http://schemas.microsoft.com/office/drawing/2014/main" id="{B34E459E-6323-ED76-5BCD-B12D8B36904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2058" y="4324730"/>
              <a:ext cx="7366" cy="94282"/>
            </a:xfrm>
            <a:custGeom>
              <a:avLst/>
              <a:gdLst>
                <a:gd name="T0" fmla="*/ 4 w 9"/>
                <a:gd name="T1" fmla="*/ 100 h 100"/>
                <a:gd name="T2" fmla="*/ 0 w 9"/>
                <a:gd name="T3" fmla="*/ 95 h 100"/>
                <a:gd name="T4" fmla="*/ 0 w 9"/>
                <a:gd name="T5" fmla="*/ 4 h 100"/>
                <a:gd name="T6" fmla="*/ 4 w 9"/>
                <a:gd name="T7" fmla="*/ 0 h 100"/>
                <a:gd name="T8" fmla="*/ 9 w 9"/>
                <a:gd name="T9" fmla="*/ 4 h 100"/>
                <a:gd name="T10" fmla="*/ 9 w 9"/>
                <a:gd name="T11" fmla="*/ 95 h 100"/>
                <a:gd name="T12" fmla="*/ 4 w 9"/>
                <a:gd name="T13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00">
                  <a:moveTo>
                    <a:pt x="4" y="100"/>
                  </a:moveTo>
                  <a:cubicBezTo>
                    <a:pt x="2" y="100"/>
                    <a:pt x="0" y="98"/>
                    <a:pt x="0" y="9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95"/>
                    <a:pt x="9" y="95"/>
                    <a:pt x="9" y="95"/>
                  </a:cubicBezTo>
                  <a:cubicBezTo>
                    <a:pt x="9" y="98"/>
                    <a:pt x="7" y="100"/>
                    <a:pt x="4" y="100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43" name="Freeform 473">
              <a:extLst>
                <a:ext uri="{FF2B5EF4-FFF2-40B4-BE49-F238E27FC236}">
                  <a16:creationId xmlns:a16="http://schemas.microsoft.com/office/drawing/2014/main" id="{EE60BA98-373E-B787-AC05-F2601A69FDD2}"/>
                </a:ext>
              </a:extLst>
            </p:cNvPr>
            <p:cNvSpPr>
              <a:spLocks/>
            </p:cNvSpPr>
            <p:nvPr/>
          </p:nvSpPr>
          <p:spPr bwMode="auto">
            <a:xfrm>
              <a:off x="8670310" y="4324730"/>
              <a:ext cx="7366" cy="94282"/>
            </a:xfrm>
            <a:custGeom>
              <a:avLst/>
              <a:gdLst>
                <a:gd name="T0" fmla="*/ 4 w 8"/>
                <a:gd name="T1" fmla="*/ 100 h 100"/>
                <a:gd name="T2" fmla="*/ 0 w 8"/>
                <a:gd name="T3" fmla="*/ 95 h 100"/>
                <a:gd name="T4" fmla="*/ 0 w 8"/>
                <a:gd name="T5" fmla="*/ 4 h 100"/>
                <a:gd name="T6" fmla="*/ 4 w 8"/>
                <a:gd name="T7" fmla="*/ 0 h 100"/>
                <a:gd name="T8" fmla="*/ 8 w 8"/>
                <a:gd name="T9" fmla="*/ 4 h 100"/>
                <a:gd name="T10" fmla="*/ 8 w 8"/>
                <a:gd name="T11" fmla="*/ 95 h 100"/>
                <a:gd name="T12" fmla="*/ 4 w 8"/>
                <a:gd name="T13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00">
                  <a:moveTo>
                    <a:pt x="4" y="100"/>
                  </a:moveTo>
                  <a:cubicBezTo>
                    <a:pt x="2" y="100"/>
                    <a:pt x="0" y="98"/>
                    <a:pt x="0" y="9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95"/>
                    <a:pt x="8" y="95"/>
                    <a:pt x="8" y="95"/>
                  </a:cubicBezTo>
                  <a:cubicBezTo>
                    <a:pt x="8" y="98"/>
                    <a:pt x="6" y="100"/>
                    <a:pt x="4" y="100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44" name="Freeform 474">
              <a:extLst>
                <a:ext uri="{FF2B5EF4-FFF2-40B4-BE49-F238E27FC236}">
                  <a16:creationId xmlns:a16="http://schemas.microsoft.com/office/drawing/2014/main" id="{6EAE2806-41E5-BD18-9CD0-6678768B0879}"/>
                </a:ext>
              </a:extLst>
            </p:cNvPr>
            <p:cNvSpPr>
              <a:spLocks/>
            </p:cNvSpPr>
            <p:nvPr/>
          </p:nvSpPr>
          <p:spPr bwMode="auto">
            <a:xfrm>
              <a:off x="8639374" y="4348301"/>
              <a:ext cx="7366" cy="70711"/>
            </a:xfrm>
            <a:custGeom>
              <a:avLst/>
              <a:gdLst>
                <a:gd name="T0" fmla="*/ 4 w 8"/>
                <a:gd name="T1" fmla="*/ 75 h 75"/>
                <a:gd name="T2" fmla="*/ 0 w 8"/>
                <a:gd name="T3" fmla="*/ 70 h 75"/>
                <a:gd name="T4" fmla="*/ 0 w 8"/>
                <a:gd name="T5" fmla="*/ 4 h 75"/>
                <a:gd name="T6" fmla="*/ 4 w 8"/>
                <a:gd name="T7" fmla="*/ 0 h 75"/>
                <a:gd name="T8" fmla="*/ 8 w 8"/>
                <a:gd name="T9" fmla="*/ 4 h 75"/>
                <a:gd name="T10" fmla="*/ 8 w 8"/>
                <a:gd name="T11" fmla="*/ 70 h 75"/>
                <a:gd name="T12" fmla="*/ 4 w 8"/>
                <a:gd name="T13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75">
                  <a:moveTo>
                    <a:pt x="4" y="75"/>
                  </a:moveTo>
                  <a:cubicBezTo>
                    <a:pt x="2" y="75"/>
                    <a:pt x="0" y="73"/>
                    <a:pt x="0" y="7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0"/>
                    <a:pt x="8" y="70"/>
                    <a:pt x="8" y="70"/>
                  </a:cubicBezTo>
                  <a:cubicBezTo>
                    <a:pt x="8" y="73"/>
                    <a:pt x="6" y="75"/>
                    <a:pt x="4" y="75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45" name="Freeform 475">
              <a:extLst>
                <a:ext uri="{FF2B5EF4-FFF2-40B4-BE49-F238E27FC236}">
                  <a16:creationId xmlns:a16="http://schemas.microsoft.com/office/drawing/2014/main" id="{5EB71D9F-8975-4C41-6DDD-4E39365F12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84868" y="4284955"/>
              <a:ext cx="178252" cy="179725"/>
            </a:xfrm>
            <a:custGeom>
              <a:avLst/>
              <a:gdLst>
                <a:gd name="T0" fmla="*/ 95 w 191"/>
                <a:gd name="T1" fmla="*/ 191 h 191"/>
                <a:gd name="T2" fmla="*/ 0 w 191"/>
                <a:gd name="T3" fmla="*/ 96 h 191"/>
                <a:gd name="T4" fmla="*/ 95 w 191"/>
                <a:gd name="T5" fmla="*/ 0 h 191"/>
                <a:gd name="T6" fmla="*/ 191 w 191"/>
                <a:gd name="T7" fmla="*/ 96 h 191"/>
                <a:gd name="T8" fmla="*/ 95 w 191"/>
                <a:gd name="T9" fmla="*/ 191 h 191"/>
                <a:gd name="T10" fmla="*/ 95 w 191"/>
                <a:gd name="T11" fmla="*/ 9 h 191"/>
                <a:gd name="T12" fmla="*/ 8 w 191"/>
                <a:gd name="T13" fmla="*/ 96 h 191"/>
                <a:gd name="T14" fmla="*/ 95 w 191"/>
                <a:gd name="T15" fmla="*/ 183 h 191"/>
                <a:gd name="T16" fmla="*/ 182 w 191"/>
                <a:gd name="T17" fmla="*/ 96 h 191"/>
                <a:gd name="T18" fmla="*/ 95 w 191"/>
                <a:gd name="T19" fmla="*/ 9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1" h="191">
                  <a:moveTo>
                    <a:pt x="95" y="191"/>
                  </a:moveTo>
                  <a:cubicBezTo>
                    <a:pt x="42" y="191"/>
                    <a:pt x="0" y="149"/>
                    <a:pt x="0" y="96"/>
                  </a:cubicBezTo>
                  <a:cubicBezTo>
                    <a:pt x="0" y="43"/>
                    <a:pt x="42" y="0"/>
                    <a:pt x="95" y="0"/>
                  </a:cubicBezTo>
                  <a:cubicBezTo>
                    <a:pt x="148" y="0"/>
                    <a:pt x="191" y="43"/>
                    <a:pt x="191" y="96"/>
                  </a:cubicBezTo>
                  <a:cubicBezTo>
                    <a:pt x="191" y="149"/>
                    <a:pt x="148" y="191"/>
                    <a:pt x="95" y="191"/>
                  </a:cubicBezTo>
                  <a:close/>
                  <a:moveTo>
                    <a:pt x="95" y="9"/>
                  </a:moveTo>
                  <a:cubicBezTo>
                    <a:pt x="47" y="9"/>
                    <a:pt x="8" y="48"/>
                    <a:pt x="8" y="96"/>
                  </a:cubicBezTo>
                  <a:cubicBezTo>
                    <a:pt x="8" y="144"/>
                    <a:pt x="47" y="183"/>
                    <a:pt x="95" y="183"/>
                  </a:cubicBezTo>
                  <a:cubicBezTo>
                    <a:pt x="143" y="183"/>
                    <a:pt x="182" y="144"/>
                    <a:pt x="182" y="96"/>
                  </a:cubicBezTo>
                  <a:cubicBezTo>
                    <a:pt x="182" y="48"/>
                    <a:pt x="143" y="9"/>
                    <a:pt x="95" y="9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46" name="Freeform 476">
              <a:extLst>
                <a:ext uri="{FF2B5EF4-FFF2-40B4-BE49-F238E27FC236}">
                  <a16:creationId xmlns:a16="http://schemas.microsoft.com/office/drawing/2014/main" id="{3E70B167-F579-3B8B-C83B-0F722C810DD1}"/>
                </a:ext>
              </a:extLst>
            </p:cNvPr>
            <p:cNvSpPr>
              <a:spLocks/>
            </p:cNvSpPr>
            <p:nvPr/>
          </p:nvSpPr>
          <p:spPr bwMode="auto">
            <a:xfrm>
              <a:off x="8732183" y="4433743"/>
              <a:ext cx="70711" cy="70711"/>
            </a:xfrm>
            <a:custGeom>
              <a:avLst/>
              <a:gdLst>
                <a:gd name="T0" fmla="*/ 71 w 76"/>
                <a:gd name="T1" fmla="*/ 75 h 75"/>
                <a:gd name="T2" fmla="*/ 68 w 76"/>
                <a:gd name="T3" fmla="*/ 74 h 75"/>
                <a:gd name="T4" fmla="*/ 1 w 76"/>
                <a:gd name="T5" fmla="*/ 7 h 75"/>
                <a:gd name="T6" fmla="*/ 1 w 76"/>
                <a:gd name="T7" fmla="*/ 1 h 75"/>
                <a:gd name="T8" fmla="*/ 8 w 76"/>
                <a:gd name="T9" fmla="*/ 1 h 75"/>
                <a:gd name="T10" fmla="*/ 74 w 76"/>
                <a:gd name="T11" fmla="*/ 68 h 75"/>
                <a:gd name="T12" fmla="*/ 74 w 76"/>
                <a:gd name="T13" fmla="*/ 74 h 75"/>
                <a:gd name="T14" fmla="*/ 71 w 76"/>
                <a:gd name="T15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6" h="75">
                  <a:moveTo>
                    <a:pt x="71" y="75"/>
                  </a:moveTo>
                  <a:cubicBezTo>
                    <a:pt x="70" y="75"/>
                    <a:pt x="69" y="74"/>
                    <a:pt x="68" y="74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6"/>
                    <a:pt x="0" y="3"/>
                    <a:pt x="1" y="1"/>
                  </a:cubicBezTo>
                  <a:cubicBezTo>
                    <a:pt x="3" y="0"/>
                    <a:pt x="6" y="0"/>
                    <a:pt x="8" y="1"/>
                  </a:cubicBezTo>
                  <a:cubicBezTo>
                    <a:pt x="74" y="68"/>
                    <a:pt x="74" y="68"/>
                    <a:pt x="74" y="68"/>
                  </a:cubicBezTo>
                  <a:cubicBezTo>
                    <a:pt x="76" y="69"/>
                    <a:pt x="76" y="72"/>
                    <a:pt x="74" y="74"/>
                  </a:cubicBezTo>
                  <a:cubicBezTo>
                    <a:pt x="73" y="74"/>
                    <a:pt x="72" y="75"/>
                    <a:pt x="71" y="75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47" name="Freeform 477">
              <a:extLst>
                <a:ext uri="{FF2B5EF4-FFF2-40B4-BE49-F238E27FC236}">
                  <a16:creationId xmlns:a16="http://schemas.microsoft.com/office/drawing/2014/main" id="{5082C921-6F7B-693E-DE2E-B85D48B9D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8464069" y="4193620"/>
              <a:ext cx="325567" cy="313782"/>
            </a:xfrm>
            <a:custGeom>
              <a:avLst/>
              <a:gdLst>
                <a:gd name="T0" fmla="*/ 334 w 347"/>
                <a:gd name="T1" fmla="*/ 324 h 334"/>
                <a:gd name="T2" fmla="*/ 22 w 347"/>
                <a:gd name="T3" fmla="*/ 324 h 334"/>
                <a:gd name="T4" fmla="*/ 11 w 347"/>
                <a:gd name="T5" fmla="*/ 313 h 334"/>
                <a:gd name="T6" fmla="*/ 11 w 347"/>
                <a:gd name="T7" fmla="*/ 21 h 334"/>
                <a:gd name="T8" fmla="*/ 22 w 347"/>
                <a:gd name="T9" fmla="*/ 10 h 334"/>
                <a:gd name="T10" fmla="*/ 326 w 347"/>
                <a:gd name="T11" fmla="*/ 10 h 334"/>
                <a:gd name="T12" fmla="*/ 337 w 347"/>
                <a:gd name="T13" fmla="*/ 21 h 334"/>
                <a:gd name="T14" fmla="*/ 337 w 347"/>
                <a:gd name="T15" fmla="*/ 283 h 334"/>
                <a:gd name="T16" fmla="*/ 342 w 347"/>
                <a:gd name="T17" fmla="*/ 288 h 334"/>
                <a:gd name="T18" fmla="*/ 347 w 347"/>
                <a:gd name="T19" fmla="*/ 283 h 334"/>
                <a:gd name="T20" fmla="*/ 347 w 347"/>
                <a:gd name="T21" fmla="*/ 21 h 334"/>
                <a:gd name="T22" fmla="*/ 326 w 347"/>
                <a:gd name="T23" fmla="*/ 0 h 334"/>
                <a:gd name="T24" fmla="*/ 22 w 347"/>
                <a:gd name="T25" fmla="*/ 0 h 334"/>
                <a:gd name="T26" fmla="*/ 0 w 347"/>
                <a:gd name="T27" fmla="*/ 21 h 334"/>
                <a:gd name="T28" fmla="*/ 0 w 347"/>
                <a:gd name="T29" fmla="*/ 313 h 334"/>
                <a:gd name="T30" fmla="*/ 22 w 347"/>
                <a:gd name="T31" fmla="*/ 334 h 334"/>
                <a:gd name="T32" fmla="*/ 334 w 347"/>
                <a:gd name="T33" fmla="*/ 334 h 334"/>
                <a:gd name="T34" fmla="*/ 338 w 347"/>
                <a:gd name="T35" fmla="*/ 329 h 334"/>
                <a:gd name="T36" fmla="*/ 334 w 347"/>
                <a:gd name="T37" fmla="*/ 324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47" h="334">
                  <a:moveTo>
                    <a:pt x="334" y="324"/>
                  </a:moveTo>
                  <a:cubicBezTo>
                    <a:pt x="230" y="324"/>
                    <a:pt x="126" y="324"/>
                    <a:pt x="22" y="324"/>
                  </a:cubicBezTo>
                  <a:cubicBezTo>
                    <a:pt x="16" y="324"/>
                    <a:pt x="11" y="319"/>
                    <a:pt x="11" y="313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1" y="15"/>
                    <a:pt x="16" y="10"/>
                    <a:pt x="22" y="10"/>
                  </a:cubicBezTo>
                  <a:cubicBezTo>
                    <a:pt x="326" y="10"/>
                    <a:pt x="326" y="10"/>
                    <a:pt x="326" y="10"/>
                  </a:cubicBezTo>
                  <a:cubicBezTo>
                    <a:pt x="332" y="10"/>
                    <a:pt x="337" y="15"/>
                    <a:pt x="337" y="21"/>
                  </a:cubicBezTo>
                  <a:cubicBezTo>
                    <a:pt x="337" y="283"/>
                    <a:pt x="337" y="283"/>
                    <a:pt x="337" y="283"/>
                  </a:cubicBezTo>
                  <a:cubicBezTo>
                    <a:pt x="337" y="286"/>
                    <a:pt x="340" y="288"/>
                    <a:pt x="342" y="288"/>
                  </a:cubicBezTo>
                  <a:cubicBezTo>
                    <a:pt x="345" y="287"/>
                    <a:pt x="347" y="285"/>
                    <a:pt x="347" y="283"/>
                  </a:cubicBezTo>
                  <a:cubicBezTo>
                    <a:pt x="347" y="196"/>
                    <a:pt x="347" y="108"/>
                    <a:pt x="347" y="21"/>
                  </a:cubicBezTo>
                  <a:cubicBezTo>
                    <a:pt x="347" y="9"/>
                    <a:pt x="338" y="0"/>
                    <a:pt x="326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9"/>
                    <a:pt x="0" y="21"/>
                  </a:cubicBezTo>
                  <a:cubicBezTo>
                    <a:pt x="0" y="313"/>
                    <a:pt x="0" y="313"/>
                    <a:pt x="0" y="313"/>
                  </a:cubicBezTo>
                  <a:cubicBezTo>
                    <a:pt x="0" y="325"/>
                    <a:pt x="10" y="334"/>
                    <a:pt x="22" y="334"/>
                  </a:cubicBezTo>
                  <a:cubicBezTo>
                    <a:pt x="334" y="334"/>
                    <a:pt x="334" y="334"/>
                    <a:pt x="334" y="334"/>
                  </a:cubicBezTo>
                  <a:cubicBezTo>
                    <a:pt x="336" y="334"/>
                    <a:pt x="338" y="332"/>
                    <a:pt x="338" y="329"/>
                  </a:cubicBezTo>
                  <a:cubicBezTo>
                    <a:pt x="338" y="326"/>
                    <a:pt x="336" y="324"/>
                    <a:pt x="334" y="324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48" name="Freeform 478">
              <a:extLst>
                <a:ext uri="{FF2B5EF4-FFF2-40B4-BE49-F238E27FC236}">
                  <a16:creationId xmlns:a16="http://schemas.microsoft.com/office/drawing/2014/main" id="{7E030611-95F6-EBAB-3F9B-B96D480B8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6166" y="4239287"/>
              <a:ext cx="281373" cy="8839"/>
            </a:xfrm>
            <a:custGeom>
              <a:avLst/>
              <a:gdLst>
                <a:gd name="T0" fmla="*/ 296 w 301"/>
                <a:gd name="T1" fmla="*/ 0 h 10"/>
                <a:gd name="T2" fmla="*/ 5 w 301"/>
                <a:gd name="T3" fmla="*/ 0 h 10"/>
                <a:gd name="T4" fmla="*/ 0 w 301"/>
                <a:gd name="T5" fmla="*/ 5 h 10"/>
                <a:gd name="T6" fmla="*/ 5 w 301"/>
                <a:gd name="T7" fmla="*/ 10 h 10"/>
                <a:gd name="T8" fmla="*/ 296 w 301"/>
                <a:gd name="T9" fmla="*/ 10 h 10"/>
                <a:gd name="T10" fmla="*/ 301 w 301"/>
                <a:gd name="T11" fmla="*/ 5 h 10"/>
                <a:gd name="T12" fmla="*/ 296 w 301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1" h="10">
                  <a:moveTo>
                    <a:pt x="296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8"/>
                    <a:pt x="3" y="10"/>
                    <a:pt x="5" y="10"/>
                  </a:cubicBezTo>
                  <a:cubicBezTo>
                    <a:pt x="296" y="10"/>
                    <a:pt x="296" y="10"/>
                    <a:pt x="296" y="10"/>
                  </a:cubicBezTo>
                  <a:cubicBezTo>
                    <a:pt x="298" y="10"/>
                    <a:pt x="301" y="8"/>
                    <a:pt x="301" y="5"/>
                  </a:cubicBezTo>
                  <a:cubicBezTo>
                    <a:pt x="301" y="2"/>
                    <a:pt x="298" y="0"/>
                    <a:pt x="296" y="0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49" name="Oval 479">
              <a:extLst>
                <a:ext uri="{FF2B5EF4-FFF2-40B4-BE49-F238E27FC236}">
                  <a16:creationId xmlns:a16="http://schemas.microsoft.com/office/drawing/2014/main" id="{F575481D-77E1-BD20-56F1-1242EED6B8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93532" y="4215717"/>
              <a:ext cx="11785" cy="11785"/>
            </a:xfrm>
            <a:prstGeom prst="ellipse">
              <a:avLst/>
            </a:pr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50" name="Oval 480">
              <a:extLst>
                <a:ext uri="{FF2B5EF4-FFF2-40B4-BE49-F238E27FC236}">
                  <a16:creationId xmlns:a16="http://schemas.microsoft.com/office/drawing/2014/main" id="{DAEA1137-ECAE-BD8A-CFBE-D710CF85C1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17102" y="4215717"/>
              <a:ext cx="11785" cy="11785"/>
            </a:xfrm>
            <a:prstGeom prst="ellipse">
              <a:avLst/>
            </a:pr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51" name="Oval 481">
              <a:extLst>
                <a:ext uri="{FF2B5EF4-FFF2-40B4-BE49-F238E27FC236}">
                  <a16:creationId xmlns:a16="http://schemas.microsoft.com/office/drawing/2014/main" id="{8D1C881D-8E1B-B3A8-13EF-133C082C40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40673" y="4215717"/>
              <a:ext cx="11785" cy="11785"/>
            </a:xfrm>
            <a:prstGeom prst="ellipse">
              <a:avLst/>
            </a:pr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</p:grpSp>
      <p:sp>
        <p:nvSpPr>
          <p:cNvPr id="52" name="Footer Placeholder 3">
            <a:extLst>
              <a:ext uri="{FF2B5EF4-FFF2-40B4-BE49-F238E27FC236}">
                <a16:creationId xmlns:a16="http://schemas.microsoft.com/office/drawing/2014/main" id="{09A35962-35F7-6A43-D903-A7E352BA49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53" name="Foliennummernplatzhalter 1">
            <a:extLst>
              <a:ext uri="{FF2B5EF4-FFF2-40B4-BE49-F238E27FC236}">
                <a16:creationId xmlns:a16="http://schemas.microsoft.com/office/drawing/2014/main" id="{A985F714-8787-8EAF-DD78-3FDD38C4BD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9</a:t>
            </a:fld>
            <a:endParaRPr lang="en-US" noProof="0" dirty="0"/>
          </a:p>
        </p:txBody>
      </p:sp>
      <p:sp>
        <p:nvSpPr>
          <p:cNvPr id="54" name="Footer Placeholder 3">
            <a:extLst>
              <a:ext uri="{FF2B5EF4-FFF2-40B4-BE49-F238E27FC236}">
                <a16:creationId xmlns:a16="http://schemas.microsoft.com/office/drawing/2014/main" id="{B6B9F78C-CB8B-0A70-5DF4-96508AC870C2}"/>
              </a:ext>
            </a:extLst>
          </p:cNvPr>
          <p:cNvSpPr txBox="1">
            <a:spLocks/>
          </p:cNvSpPr>
          <p:nvPr/>
        </p:nvSpPr>
        <p:spPr bwMode="black">
          <a:xfrm>
            <a:off x="253965" y="6622012"/>
            <a:ext cx="3068899" cy="16597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marL="0" indent="0" algn="r" defTabSz="914271" rtl="0" eaLnBrk="1" latinLnBrk="0" hangingPunct="1">
              <a:spcBef>
                <a:spcPts val="0"/>
              </a:spcBef>
              <a:buFont typeface="+mj-lt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Aft>
                <a:spcPts val="600"/>
              </a:spcAft>
            </a:pPr>
            <a:r>
              <a:rPr lang="en-US" dirty="0" err="1"/>
              <a:t>Quellen</a:t>
            </a:r>
            <a:r>
              <a:rPr lang="en-US" dirty="0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37923377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ercedes-Benz white">
  <a:themeElements>
    <a:clrScheme name="Mercedes-Benz white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9E9E9E"/>
      </a:accent1>
      <a:accent2>
        <a:srgbClr val="E6E6E6"/>
      </a:accent2>
      <a:accent3>
        <a:srgbClr val="C8C8C8"/>
      </a:accent3>
      <a:accent4>
        <a:srgbClr val="707070"/>
      </a:accent4>
      <a:accent5>
        <a:srgbClr val="444444"/>
      </a:accent5>
      <a:accent6>
        <a:srgbClr val="0078D6"/>
      </a:accent6>
      <a:hlink>
        <a:srgbClr val="000000"/>
      </a:hlink>
      <a:folHlink>
        <a:srgbClr val="000000"/>
      </a:folHlink>
    </a:clrScheme>
    <a:fontScheme name="Mercedes-Benz Corpo">
      <a:majorFont>
        <a:latin typeface="MB Corpo A Title Cond Office"/>
        <a:ea typeface=""/>
        <a:cs typeface=""/>
      </a:majorFont>
      <a:minorFont>
        <a:latin typeface="MB Corpo S Text Office Ligh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lIns="90000" rtlCol="0" anchor="ctr">
        <a:noAutofit/>
      </a:bodyPr>
      <a:lstStyle>
        <a:defPPr algn="l">
          <a:defRPr sz="16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sz="1600" dirty="0" err="1" smtClean="0"/>
        </a:defPPr>
      </a:lstStyle>
    </a:txDef>
  </a:objectDefaults>
  <a:extraClrSchemeLst/>
  <a:custClrLst>
    <a:custClr name="Light Grey 100%">
      <a:srgbClr val="E6E6E6"/>
    </a:custClr>
    <a:custClr name="Light Grey +20 K">
      <a:srgbClr val="C8C8C8"/>
    </a:custClr>
    <a:custClr name="Light Grey +40 K">
      <a:srgbClr val="9E9E9E"/>
    </a:custClr>
    <a:custClr name="Light Grey +60 K">
      <a:srgbClr val="707070"/>
    </a:custClr>
    <a:custClr name="Light Grey +80 K">
      <a:srgbClr val="44444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ure Blue 100%">
      <a:srgbClr val="0078D6"/>
    </a:custClr>
    <a:custClr name="Pure Blue +">
      <a:srgbClr val="0082E6"/>
    </a:custClr>
    <a:custClr name="Pure Blue ++">
      <a:srgbClr val="00336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Red">
      <a:srgbClr val="9F0002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2024_MBTI_Powerpoint_Master_Beispielfolien_Zwischenstand_Januar_de.potx" id="{11D3A030-F4C1-4D87-9FC2-180C28201D4E}" vid="{D2C00FEF-7002-4287-B956-18347E231B71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</a:spPr>
      <a:bodyPr rtlCol="0" anchor="ctr"/>
      <a:lstStyle>
        <a:defPPr algn="ctr">
          <a:defRPr sz="1200" dirty="0" err="1" smtClean="0">
            <a:solidFill>
              <a:schemeClr val="tx1"/>
            </a:solidFill>
            <a:latin typeface="MB Corpo S Text Office Light" panose="020B04040500000000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sz="1200" dirty="0">
            <a:latin typeface="MB Corpo S Text Office Light" panose="020B04040500000000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 sz="1200" dirty="0" err="1" smtClean="0">
            <a:solidFill>
              <a:schemeClr val="tx1"/>
            </a:solidFill>
            <a:latin typeface="MB Corpo S Text Office Light" panose="020B04040500000000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sz="1200" dirty="0">
            <a:latin typeface="MB Corpo S Text Office Light" panose="020B04040500000000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9C1444AB238084A9F0C9BE9A43FCCC7" ma:contentTypeVersion="14" ma:contentTypeDescription="Ein neues Dokument erstellen." ma:contentTypeScope="" ma:versionID="426a4f82b6dbb4bde92621b12bd46e9f">
  <xsd:schema xmlns:xsd="http://www.w3.org/2001/XMLSchema" xmlns:xs="http://www.w3.org/2001/XMLSchema" xmlns:p="http://schemas.microsoft.com/office/2006/metadata/properties" xmlns:ns2="02411e59-dda3-46ff-8ab6-d4f199e654bf" xmlns:ns3="b58ff312-d4e5-4e8b-85fa-f33ca903d5d7" targetNamespace="http://schemas.microsoft.com/office/2006/metadata/properties" ma:root="true" ma:fieldsID="17748fb5c1a569594cc5acf8576c9d36" ns2:_="" ns3:_="">
    <xsd:import namespace="02411e59-dda3-46ff-8ab6-d4f199e654bf"/>
    <xsd:import namespace="b58ff312-d4e5-4e8b-85fa-f33ca903d5d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411e59-dda3-46ff-8ab6-d4f199e654b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hidden="true" ma:internalName="MediaServiceAutoTags" ma:readOnly="true">
      <xsd:simpleType>
        <xsd:restriction base="dms:Text"/>
      </xsd:simpleType>
    </xsd:element>
    <xsd:element name="MediaServiceOCR" ma:index="12" nillable="true" ma:displayName="Extracted Text" ma:hidden="true" ma:internalName="MediaServiceOCR" ma:readOnly="true">
      <xsd:simpleType>
        <xsd:restriction base="dms:Note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Bildmarkierungen" ma:readOnly="false" ma:fieldId="{5cf76f15-5ced-4ddc-b409-7134ff3c332f}" ma:taxonomyMulti="true" ma:sspId="97050f6e-97f2-48e7-ad72-ec3f75f9004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58ff312-d4e5-4e8b-85fa-f33ca903d5d7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ccabd709-74ab-417b-b9f3-c9dce22b9067}" ma:internalName="TaxCatchAll" ma:showField="CatchAllData" ma:web="b58ff312-d4e5-4e8b-85fa-f33ca903d5d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displayName="Inhaltstyp"/>
        <xsd:element ref="dc:title" minOccurs="0" maxOccurs="1" ma:index="0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b58ff312-d4e5-4e8b-85fa-f33ca903d5d7" xsi:nil="true"/>
    <lcf76f155ced4ddcb4097134ff3c332f xmlns="02411e59-dda3-46ff-8ab6-d4f199e654bf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36A26C05-1C69-4ACF-A52F-18ED8774D11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2411e59-dda3-46ff-8ab6-d4f199e654bf"/>
    <ds:schemaRef ds:uri="b58ff312-d4e5-4e8b-85fa-f33ca903d5d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ECDB3E2-DFCF-4873-BD5F-4E3F61156D6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93533F5-A353-47AA-9B24-FCC403F2D4EC}">
  <ds:schemaRefs>
    <ds:schemaRef ds:uri="http://purl.org/dc/elements/1.1/"/>
    <ds:schemaRef ds:uri="http://purl.org/dc/dcmitype/"/>
    <ds:schemaRef ds:uri="02411e59-dda3-46ff-8ab6-d4f199e654bf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microsoft.com/office/2006/documentManagement/types"/>
    <ds:schemaRef ds:uri="b58ff312-d4e5-4e8b-85fa-f33ca903d5d7"/>
    <ds:schemaRef ds:uri="http://www.w3.org/XML/1998/namespace"/>
    <ds:schemaRef ds:uri="http://schemas.openxmlformats.org/package/2006/metadata/core-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24_MBTI_Powerpoint_Master_Beispielfolien_Zwischenstand_Januar_en</Template>
  <TotalTime>0</TotalTime>
  <Words>551</Words>
  <Application>Microsoft Office PowerPoint</Application>
  <PresentationFormat>Breitbild</PresentationFormat>
  <Paragraphs>94</Paragraphs>
  <Slides>11</Slides>
  <Notes>1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18" baseType="lpstr">
      <vt:lpstr>Arial</vt:lpstr>
      <vt:lpstr>MB Corpo A Title Cond Office</vt:lpstr>
      <vt:lpstr>MB Corpo S Text Office</vt:lpstr>
      <vt:lpstr>MB Corpo S Text Office Light</vt:lpstr>
      <vt:lpstr>Symbol</vt:lpstr>
      <vt:lpstr>Mercedes-Benz white</vt:lpstr>
      <vt:lpstr>think-cell Folie</vt:lpstr>
      <vt:lpstr>PowerPoint-Präsentation</vt:lpstr>
      <vt:lpstr>Agenda</vt:lpstr>
      <vt:lpstr>Was ist MVC?</vt:lpstr>
      <vt:lpstr>Wie funktioniert MVC?</vt:lpstr>
      <vt:lpstr>Wie funktioniert MVC?</vt:lpstr>
      <vt:lpstr>Wie funktioniert MVC? - Beispiel</vt:lpstr>
      <vt:lpstr>Wie funktioniert MVC? - Beispiel</vt:lpstr>
      <vt:lpstr>Vorteile MVC?</vt:lpstr>
      <vt:lpstr>Nachteile MVC?</vt:lpstr>
      <vt:lpstr>Verwandte Pattern MV*</vt:lpstr>
      <vt:lpstr>Quellenverzeichni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ekly Info</dc:title>
  <dc:creator>Topal, Buesra (415)</dc:creator>
  <cp:lastModifiedBy>Bender von Saebelkampf, Maximilian (415)</cp:lastModifiedBy>
  <cp:revision>103</cp:revision>
  <cp:lastPrinted>2020-11-30T14:54:11Z</cp:lastPrinted>
  <dcterms:created xsi:type="dcterms:W3CDTF">2024-01-22T16:00:24Z</dcterms:created>
  <dcterms:modified xsi:type="dcterms:W3CDTF">2024-12-09T12:59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24dbb1d-991d-4bbd-aad5-33bac1d8ffaf_Enabled">
    <vt:lpwstr>true</vt:lpwstr>
  </property>
  <property fmtid="{D5CDD505-2E9C-101B-9397-08002B2CF9AE}" pid="3" name="MSIP_Label_924dbb1d-991d-4bbd-aad5-33bac1d8ffaf_SetDate">
    <vt:lpwstr>2023-10-12T12:21:58Z</vt:lpwstr>
  </property>
  <property fmtid="{D5CDD505-2E9C-101B-9397-08002B2CF9AE}" pid="4" name="MSIP_Label_924dbb1d-991d-4bbd-aad5-33bac1d8ffaf_Method">
    <vt:lpwstr>Standard</vt:lpwstr>
  </property>
  <property fmtid="{D5CDD505-2E9C-101B-9397-08002B2CF9AE}" pid="5" name="MSIP_Label_924dbb1d-991d-4bbd-aad5-33bac1d8ffaf_Name">
    <vt:lpwstr>924dbb1d-991d-4bbd-aad5-33bac1d8ffaf</vt:lpwstr>
  </property>
  <property fmtid="{D5CDD505-2E9C-101B-9397-08002B2CF9AE}" pid="6" name="MSIP_Label_924dbb1d-991d-4bbd-aad5-33bac1d8ffaf_SiteId">
    <vt:lpwstr>9652d7c2-1ccf-4940-8151-4a92bd474ed0</vt:lpwstr>
  </property>
  <property fmtid="{D5CDD505-2E9C-101B-9397-08002B2CF9AE}" pid="7" name="MSIP_Label_924dbb1d-991d-4bbd-aad5-33bac1d8ffaf_ActionId">
    <vt:lpwstr>483f3d66-bc95-40fb-826e-b1e9a11b7cbe</vt:lpwstr>
  </property>
  <property fmtid="{D5CDD505-2E9C-101B-9397-08002B2CF9AE}" pid="8" name="MSIP_Label_924dbb1d-991d-4bbd-aad5-33bac1d8ffaf_ContentBits">
    <vt:lpwstr>0</vt:lpwstr>
  </property>
  <property fmtid="{D5CDD505-2E9C-101B-9397-08002B2CF9AE}" pid="9" name="ContentTypeId">
    <vt:lpwstr>0x010100A9C1444AB238084A9F0C9BE9A43FCCC7</vt:lpwstr>
  </property>
  <property fmtid="{D5CDD505-2E9C-101B-9397-08002B2CF9AE}" pid="10" name="MediaServiceImageTags">
    <vt:lpwstr/>
  </property>
</Properties>
</file>